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7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9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760" r:id="rId5"/>
    <p:sldMasterId id="2147483826" r:id="rId6"/>
    <p:sldMasterId id="2147483890" r:id="rId7"/>
    <p:sldMasterId id="2147483929" r:id="rId8"/>
    <p:sldMasterId id="2147483934" r:id="rId9"/>
    <p:sldMasterId id="2147484064" r:id="rId10"/>
    <p:sldMasterId id="2147484070" r:id="rId11"/>
    <p:sldMasterId id="2147484095" r:id="rId12"/>
    <p:sldMasterId id="2147484115" r:id="rId13"/>
  </p:sldMasterIdLst>
  <p:notesMasterIdLst>
    <p:notesMasterId r:id="rId30"/>
  </p:notesMasterIdLst>
  <p:handoutMasterIdLst>
    <p:handoutMasterId r:id="rId31"/>
  </p:handoutMasterIdLst>
  <p:sldIdLst>
    <p:sldId id="2147472694" r:id="rId14"/>
    <p:sldId id="265" r:id="rId15"/>
    <p:sldId id="2147483638" r:id="rId16"/>
    <p:sldId id="278" r:id="rId17"/>
    <p:sldId id="276" r:id="rId18"/>
    <p:sldId id="2147483636" r:id="rId19"/>
    <p:sldId id="2147483618" r:id="rId20"/>
    <p:sldId id="2147483611" r:id="rId21"/>
    <p:sldId id="2147472690" r:id="rId22"/>
    <p:sldId id="2147472688" r:id="rId23"/>
    <p:sldId id="2147472689" r:id="rId24"/>
    <p:sldId id="2147472684" r:id="rId25"/>
    <p:sldId id="2147472698" r:id="rId26"/>
    <p:sldId id="2147472686" r:id="rId27"/>
    <p:sldId id="2147472680" r:id="rId28"/>
    <p:sldId id="2147472697" r:id="rId29"/>
  </p:sldIdLst>
  <p:sldSz cx="12192000" cy="6858000"/>
  <p:notesSz cx="7104063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" id="{003495DF-2853-4330-8EF7-DB19C96A4C79}">
          <p14:sldIdLst>
            <p14:sldId id="2147472694"/>
          </p14:sldIdLst>
        </p14:section>
        <p14:section name="Onde estamos _ FÓRUM SBTVD" id="{E1A445D5-BEB4-4A55-8961-1EF33CF57DAA}">
          <p14:sldIdLst>
            <p14:sldId id="265"/>
            <p14:sldId id="2147483638"/>
            <p14:sldId id="278"/>
            <p14:sldId id="276"/>
          </p14:sldIdLst>
        </p14:section>
        <p14:section name="Desfio da proeminencia" id="{AC03688D-7E69-478A-B3D9-7D8E726DBBB2}">
          <p14:sldIdLst>
            <p14:sldId id="2147483636"/>
            <p14:sldId id="2147483618"/>
            <p14:sldId id="2147483611"/>
            <p14:sldId id="2147472690"/>
            <p14:sldId id="2147472688"/>
            <p14:sldId id="2147472689"/>
            <p14:sldId id="2147472684"/>
            <p14:sldId id="2147472698"/>
            <p14:sldId id="2147472686"/>
            <p14:sldId id="2147472680"/>
            <p14:sldId id="21474726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A9CFB1C-3A3B-4C5B-C1D9-5D3223293404}" name="Tiago Nunes" initials="" userId="S::tiago.nunes@g.globo::4be08715-7d98-43aa-86f8-a9fad8c8be46" providerId="AD"/>
  <p188:author id="{E154DF48-EF5F-2990-221D-CCAD540B5C9D}" name="Aline Bonavita" initials="AB" userId="S::aline.bonavita@g.globo::61315fa0-bce6-4c7b-a64b-c9fb8c9c684a" providerId="AD"/>
  <p188:author id="{C3419578-FBCE-CC22-C636-38B647522DC8}" name="Antonio Hiunes" initials="" userId="S::antonio.hiunes@g.globo::38c3ccd4-b3f0-4b98-8d22-c1b1062be6e1" providerId="AD"/>
  <p188:author id="{07BC3C97-8B4E-77A9-BBB4-16597601082F}" name="Thais Cintra" initials="TC" userId="S::thais.cintra@g.globo::e13bd058-331c-4c07-8aea-619733530da2" providerId="AD"/>
  <p188:author id="{D62FD599-3007-0E99-9634-DC68A5165B37}" name="Bernardo Costa" initials="BC" userId="S::bernardo.costa@g.globo::103ccd30-bb9d-411c-bdb9-bd60af156189" providerId="AD"/>
  <p188:author id="{FDDC78AC-6CD2-3E25-5B93-DA20E449DB3A}" name="Alex Nunes" initials="" userId="S::alex.nunes@g.globo::887a19dd-9714-4057-8fd2-ba38eecc6ee3" providerId="AD"/>
  <p188:author id="{DD0ECFD4-53A5-C730-30E8-D6D2BBDBF35E}" name="Patricia Manso" initials="PM" userId="S::patricia.manso@g.globo::42d8eaf5-5151-4007-8565-915c61ab0ef4" providerId="AD"/>
  <p188:author id="{B97EEAF2-B886-54F4-6488-552D0E5F9B13}" name="Ana Eliza" initials="" userId="S::ana.eliza@g.globo::be6584bb-d9ba-4161-9529-047ec42403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42"/>
    <a:srgbClr val="6CA896"/>
    <a:srgbClr val="FFFFFF"/>
    <a:srgbClr val="00D1D6"/>
    <a:srgbClr val="00A0A4"/>
    <a:srgbClr val="006D70"/>
    <a:srgbClr val="FFC000"/>
    <a:srgbClr val="B28A26"/>
    <a:srgbClr val="FEBF24"/>
    <a:srgbClr val="837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83B829-6657-4153-ADEC-BDA8ABD08870}" v="11" dt="2024-12-01T16:06:20.3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838" autoAdjust="0"/>
    <p:restoredTop sz="94660"/>
  </p:normalViewPr>
  <p:slideViewPr>
    <p:cSldViewPr snapToGrid="0" showGuides="1">
      <p:cViewPr varScale="1">
        <p:scale>
          <a:sx n="56" d="100"/>
          <a:sy n="56" d="100"/>
        </p:scale>
        <p:origin x="1224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-42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 Eliza" userId="be6584bb-d9ba-4161-9529-047ec424037e" providerId="ADAL" clId="{6B83B829-6657-4153-ADEC-BDA8ABD08870}"/>
    <pc:docChg chg="addSld delSld modSld sldOrd delSection modSection">
      <pc:chgData name="Ana Eliza" userId="be6584bb-d9ba-4161-9529-047ec424037e" providerId="ADAL" clId="{6B83B829-6657-4153-ADEC-BDA8ABD08870}" dt="2024-12-01T16:08:04.205" v="37" actId="17851"/>
      <pc:docMkLst>
        <pc:docMk/>
      </pc:docMkLst>
      <pc:sldChg chg="ord">
        <pc:chgData name="Ana Eliza" userId="be6584bb-d9ba-4161-9529-047ec424037e" providerId="ADAL" clId="{6B83B829-6657-4153-ADEC-BDA8ABD08870}" dt="2024-12-01T16:07:59.729" v="33"/>
        <pc:sldMkLst>
          <pc:docMk/>
          <pc:sldMk cId="0" sldId="265"/>
        </pc:sldMkLst>
      </pc:sldChg>
      <pc:sldChg chg="del">
        <pc:chgData name="Ana Eliza" userId="be6584bb-d9ba-4161-9529-047ec424037e" providerId="ADAL" clId="{6B83B829-6657-4153-ADEC-BDA8ABD08870}" dt="2024-11-25T21:18:15.137" v="0" actId="47"/>
        <pc:sldMkLst>
          <pc:docMk/>
          <pc:sldMk cId="80067278" sldId="293"/>
        </pc:sldMkLst>
      </pc:sldChg>
      <pc:sldChg chg="del">
        <pc:chgData name="Ana Eliza" userId="be6584bb-d9ba-4161-9529-047ec424037e" providerId="ADAL" clId="{6B83B829-6657-4153-ADEC-BDA8ABD08870}" dt="2024-12-01T16:06:41.209" v="14" actId="47"/>
        <pc:sldMkLst>
          <pc:docMk/>
          <pc:sldMk cId="395924625" sldId="2147472169"/>
        </pc:sldMkLst>
      </pc:sldChg>
      <pc:sldChg chg="del">
        <pc:chgData name="Ana Eliza" userId="be6584bb-d9ba-4161-9529-047ec424037e" providerId="ADAL" clId="{6B83B829-6657-4153-ADEC-BDA8ABD08870}" dt="2024-12-01T16:06:33.899" v="13" actId="47"/>
        <pc:sldMkLst>
          <pc:docMk/>
          <pc:sldMk cId="4133919583" sldId="2147472551"/>
        </pc:sldMkLst>
      </pc:sldChg>
      <pc:sldChg chg="modSp ord">
        <pc:chgData name="Ana Eliza" userId="be6584bb-d9ba-4161-9529-047ec424037e" providerId="ADAL" clId="{6B83B829-6657-4153-ADEC-BDA8ABD08870}" dt="2024-12-01T16:07:31.972" v="28"/>
        <pc:sldMkLst>
          <pc:docMk/>
          <pc:sldMk cId="2238491797" sldId="2147472680"/>
        </pc:sldMkLst>
        <pc:spChg chg="mod">
          <ac:chgData name="Ana Eliza" userId="be6584bb-d9ba-4161-9529-047ec424037e" providerId="ADAL" clId="{6B83B829-6657-4153-ADEC-BDA8ABD08870}" dt="2024-11-25T21:19:04.231" v="11" actId="20577"/>
          <ac:spMkLst>
            <pc:docMk/>
            <pc:sldMk cId="2238491797" sldId="2147472680"/>
            <ac:spMk id="2" creationId="{53DE68AE-6EC2-6C04-BD5C-3DC71206E6A1}"/>
          </ac:spMkLst>
        </pc:spChg>
      </pc:sldChg>
      <pc:sldChg chg="mod modShow">
        <pc:chgData name="Ana Eliza" userId="be6584bb-d9ba-4161-9529-047ec424037e" providerId="ADAL" clId="{6B83B829-6657-4153-ADEC-BDA8ABD08870}" dt="2024-11-25T21:18:22.963" v="1" actId="729"/>
        <pc:sldMkLst>
          <pc:docMk/>
          <pc:sldMk cId="3819529399" sldId="2147472686"/>
        </pc:sldMkLst>
      </pc:sldChg>
      <pc:sldChg chg="ord">
        <pc:chgData name="Ana Eliza" userId="be6584bb-d9ba-4161-9529-047ec424037e" providerId="ADAL" clId="{6B83B829-6657-4153-ADEC-BDA8ABD08870}" dt="2024-12-01T16:07:33.747" v="30"/>
        <pc:sldMkLst>
          <pc:docMk/>
          <pc:sldMk cId="501690300" sldId="2147472697"/>
        </pc:sldMkLst>
      </pc:sldChg>
      <pc:sldChg chg="del">
        <pc:chgData name="Ana Eliza" userId="be6584bb-d9ba-4161-9529-047ec424037e" providerId="ADAL" clId="{6B83B829-6657-4153-ADEC-BDA8ABD08870}" dt="2024-12-01T16:06:53.153" v="18" actId="47"/>
        <pc:sldMkLst>
          <pc:docMk/>
          <pc:sldMk cId="3417413254" sldId="2147483617"/>
        </pc:sldMkLst>
      </pc:sldChg>
      <pc:sldChg chg="ord">
        <pc:chgData name="Ana Eliza" userId="be6584bb-d9ba-4161-9529-047ec424037e" providerId="ADAL" clId="{6B83B829-6657-4153-ADEC-BDA8ABD08870}" dt="2024-12-01T16:07:18" v="26"/>
        <pc:sldMkLst>
          <pc:docMk/>
          <pc:sldMk cId="1548425288" sldId="2147483618"/>
        </pc:sldMkLst>
      </pc:sldChg>
      <pc:sldChg chg="del">
        <pc:chgData name="Ana Eliza" userId="be6584bb-d9ba-4161-9529-047ec424037e" providerId="ADAL" clId="{6B83B829-6657-4153-ADEC-BDA8ABD08870}" dt="2024-12-01T16:06:54.958" v="20" actId="47"/>
        <pc:sldMkLst>
          <pc:docMk/>
          <pc:sldMk cId="1800771968" sldId="2147483619"/>
        </pc:sldMkLst>
      </pc:sldChg>
      <pc:sldChg chg="del">
        <pc:chgData name="Ana Eliza" userId="be6584bb-d9ba-4161-9529-047ec424037e" providerId="ADAL" clId="{6B83B829-6657-4153-ADEC-BDA8ABD08870}" dt="2024-12-01T16:06:51.440" v="16" actId="47"/>
        <pc:sldMkLst>
          <pc:docMk/>
          <pc:sldMk cId="0" sldId="2147483632"/>
        </pc:sldMkLst>
      </pc:sldChg>
      <pc:sldChg chg="del">
        <pc:chgData name="Ana Eliza" userId="be6584bb-d9ba-4161-9529-047ec424037e" providerId="ADAL" clId="{6B83B829-6657-4153-ADEC-BDA8ABD08870}" dt="2024-12-01T16:06:52.234" v="17" actId="47"/>
        <pc:sldMkLst>
          <pc:docMk/>
          <pc:sldMk cId="2475474581" sldId="2147483633"/>
        </pc:sldMkLst>
      </pc:sldChg>
      <pc:sldChg chg="del">
        <pc:chgData name="Ana Eliza" userId="be6584bb-d9ba-4161-9529-047ec424037e" providerId="ADAL" clId="{6B83B829-6657-4153-ADEC-BDA8ABD08870}" dt="2024-12-01T16:06:53.914" v="19" actId="47"/>
        <pc:sldMkLst>
          <pc:docMk/>
          <pc:sldMk cId="1946811029" sldId="2147483634"/>
        </pc:sldMkLst>
      </pc:sldChg>
      <pc:sldChg chg="del">
        <pc:chgData name="Ana Eliza" userId="be6584bb-d9ba-4161-9529-047ec424037e" providerId="ADAL" clId="{6B83B829-6657-4153-ADEC-BDA8ABD08870}" dt="2024-12-01T16:06:50.238" v="15" actId="47"/>
        <pc:sldMkLst>
          <pc:docMk/>
          <pc:sldMk cId="205958951" sldId="2147483635"/>
        </pc:sldMkLst>
      </pc:sldChg>
      <pc:sldChg chg="del ord">
        <pc:chgData name="Ana Eliza" userId="be6584bb-d9ba-4161-9529-047ec424037e" providerId="ADAL" clId="{6B83B829-6657-4153-ADEC-BDA8ABD08870}" dt="2024-12-01T16:08:01.122" v="36" actId="47"/>
        <pc:sldMkLst>
          <pc:docMk/>
          <pc:sldMk cId="1942878778" sldId="2147483637"/>
        </pc:sldMkLst>
      </pc:sldChg>
      <pc:sldChg chg="add">
        <pc:chgData name="Ana Eliza" userId="be6584bb-d9ba-4161-9529-047ec424037e" providerId="ADAL" clId="{6B83B829-6657-4153-ADEC-BDA8ABD08870}" dt="2024-12-01T16:06:20.304" v="12"/>
        <pc:sldMkLst>
          <pc:docMk/>
          <pc:sldMk cId="3570534907" sldId="2147483638"/>
        </pc:sldMkLst>
      </pc:sldChg>
      <pc:sldMasterChg chg="delSldLayout">
        <pc:chgData name="Ana Eliza" userId="be6584bb-d9ba-4161-9529-047ec424037e" providerId="ADAL" clId="{6B83B829-6657-4153-ADEC-BDA8ABD08870}" dt="2024-11-25T21:18:15.137" v="0" actId="47"/>
        <pc:sldMasterMkLst>
          <pc:docMk/>
          <pc:sldMasterMk cId="3089450938" sldId="2147484070"/>
        </pc:sldMasterMkLst>
        <pc:sldLayoutChg chg="del">
          <pc:chgData name="Ana Eliza" userId="be6584bb-d9ba-4161-9529-047ec424037e" providerId="ADAL" clId="{6B83B829-6657-4153-ADEC-BDA8ABD08870}" dt="2024-11-25T21:18:15.137" v="0" actId="47"/>
          <pc:sldLayoutMkLst>
            <pc:docMk/>
            <pc:sldMasterMk cId="3089450938" sldId="2147484070"/>
            <pc:sldLayoutMk cId="3158367517" sldId="214748418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89301726-D1B7-7C67-B429-44444591411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B2CC4C1-D5BD-C508-1AD8-34B0790421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20658137-3C5D-4184-BA7E-47A15138DA93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07A79BB-FEE2-D7D5-9498-3C1CCEABD1E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82627A4-4292-251E-DDAE-C49B67BD0C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16B78BFF-C6B6-4B6A-AD4E-562257A7B07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52627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7E4A91E-A942-4F27-A3AF-EAFBB42ACB78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1F55E3C-2EFC-44AE-AB9D-C547E754E75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1219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F55E3C-2EFC-44AE-AB9D-C547E754E756}" type="slidenum">
              <a:rPr kumimoji="0" lang="pt-B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2051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7426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47196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1474967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F55E3C-2EFC-44AE-AB9D-C547E754E756}" type="slidenum">
              <a:rPr kumimoji="0" lang="pt-B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942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33A"/>
          </a:solidFill>
          <a:ln>
            <a:solidFill>
              <a:srgbClr val="0203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00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035101" y="1682824"/>
            <a:ext cx="2112235" cy="26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" y="0"/>
            <a:ext cx="12144672" cy="1104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2906512" y="1802824"/>
            <a:ext cx="1920213" cy="24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964577" y="1916954"/>
            <a:ext cx="1728192" cy="2159999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55712" y="1802824"/>
            <a:ext cx="1920213" cy="24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484301" y="1922826"/>
            <a:ext cx="1728192" cy="2159999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pic>
        <p:nvPicPr>
          <p:cNvPr id="12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575" y="141043"/>
            <a:ext cx="636320" cy="9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5279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Texto do Título"/>
          <p:cNvSpPr txBox="1">
            <a:spLocks noGrp="1"/>
          </p:cNvSpPr>
          <p:nvPr>
            <p:ph type="title"/>
          </p:nvPr>
        </p:nvSpPr>
        <p:spPr>
          <a:xfrm>
            <a:off x="415611" y="992767"/>
            <a:ext cx="11360801" cy="2736801"/>
          </a:xfrm>
          <a:prstGeom prst="rect">
            <a:avLst/>
          </a:prstGeom>
        </p:spPr>
        <p:txBody>
          <a:bodyPr lIns="91424" tIns="91424" rIns="91424" bIns="91424" anchor="b"/>
          <a:lstStyle>
            <a:lvl1pPr algn="ctr">
              <a:lnSpc>
                <a:spcPct val="100000"/>
              </a:lnSpc>
              <a:defRPr sz="69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55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415600" y="3778832"/>
            <a:ext cx="11360801" cy="1056801"/>
          </a:xfrm>
          <a:prstGeom prst="rect">
            <a:avLst/>
          </a:prstGeom>
        </p:spPr>
        <p:txBody>
          <a:bodyPr lIns="91424" tIns="91424" rIns="91424" bIns="91424"/>
          <a:lstStyle>
            <a:lvl1pPr marL="3429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7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indent="2540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7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42900" indent="7112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7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42900" indent="11684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7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42900" indent="16256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7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65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020934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Texto do Título"/>
          <p:cNvSpPr txBox="1">
            <a:spLocks noGrp="1"/>
          </p:cNvSpPr>
          <p:nvPr>
            <p:ph type="title"/>
          </p:nvPr>
        </p:nvSpPr>
        <p:spPr>
          <a:xfrm>
            <a:off x="415600" y="2867799"/>
            <a:ext cx="11360801" cy="1122401"/>
          </a:xfrm>
          <a:prstGeom prst="rect">
            <a:avLst/>
          </a:prstGeom>
        </p:spPr>
        <p:txBody>
          <a:bodyPr lIns="91424" tIns="91424" rIns="91424" bIns="91424"/>
          <a:lstStyle>
            <a:lvl1pPr algn="ctr">
              <a:lnSpc>
                <a:spcPct val="100000"/>
              </a:lnSpc>
              <a:defRPr sz="48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6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0826860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Texto do Título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11360801" cy="763601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100000"/>
              </a:lnSpc>
              <a:defRPr sz="28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72" name="Nível de Corpo Um…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1" cy="4555200"/>
          </a:xfrm>
          <a:prstGeom prst="rect">
            <a:avLst/>
          </a:prstGeom>
        </p:spPr>
        <p:txBody>
          <a:bodyPr lIns="91424" tIns="91424" rIns="91424" bIns="91424"/>
          <a:lstStyle>
            <a:lvl1pPr marL="609584" indent="-4571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69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■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8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67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848468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wo column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Texto do Título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11360801" cy="763601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100000"/>
              </a:lnSpc>
              <a:defRPr sz="28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81" name="Nível de Corpo Um…"/>
          <p:cNvSpPr txBox="1">
            <a:spLocks noGrp="1"/>
          </p:cNvSpPr>
          <p:nvPr>
            <p:ph type="body" sz="half" idx="1"/>
          </p:nvPr>
        </p:nvSpPr>
        <p:spPr>
          <a:xfrm>
            <a:off x="415600" y="1536633"/>
            <a:ext cx="5333201" cy="4555200"/>
          </a:xfrm>
          <a:prstGeom prst="rect">
            <a:avLst/>
          </a:prstGeom>
        </p:spPr>
        <p:txBody>
          <a:bodyPr lIns="91424" tIns="91424" rIns="91424" bIns="91424"/>
          <a:lstStyle>
            <a:lvl1pPr marL="60958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69968" indent="-457188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79552" indent="-457188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■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89137" indent="-457188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98722" indent="-457188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682" name="Google Shape;23;p5"/>
          <p:cNvSpPr txBox="1">
            <a:spLocks noGrp="1"/>
          </p:cNvSpPr>
          <p:nvPr>
            <p:ph type="body" sz="half" idx="21"/>
          </p:nvPr>
        </p:nvSpPr>
        <p:spPr>
          <a:xfrm>
            <a:off x="6443200" y="1536632"/>
            <a:ext cx="5333201" cy="4555202"/>
          </a:xfrm>
          <a:prstGeom prst="rect">
            <a:avLst/>
          </a:prstGeom>
        </p:spPr>
        <p:txBody>
          <a:bodyPr lIns="91424" tIns="91424" rIns="91424" bIns="91424"/>
          <a:lstStyle/>
          <a:p>
            <a:pPr marL="60958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4656069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Texto do Título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11360801" cy="763601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100000"/>
              </a:lnSpc>
              <a:defRPr sz="28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9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1684529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column tex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Texto do Título"/>
          <p:cNvSpPr txBox="1">
            <a:spLocks noGrp="1"/>
          </p:cNvSpPr>
          <p:nvPr>
            <p:ph type="title"/>
          </p:nvPr>
        </p:nvSpPr>
        <p:spPr>
          <a:xfrm>
            <a:off x="415600" y="740799"/>
            <a:ext cx="3744001" cy="1007602"/>
          </a:xfrm>
          <a:prstGeom prst="rect">
            <a:avLst/>
          </a:prstGeom>
        </p:spPr>
        <p:txBody>
          <a:bodyPr lIns="91424" tIns="91424" rIns="91424" bIns="91424" anchor="b"/>
          <a:lstStyle>
            <a:lvl1pPr>
              <a:lnSpc>
                <a:spcPct val="100000"/>
              </a:lnSpc>
              <a:defRPr sz="32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699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415600" y="1852800"/>
            <a:ext cx="3744001" cy="4239201"/>
          </a:xfrm>
          <a:prstGeom prst="rect">
            <a:avLst/>
          </a:prstGeom>
        </p:spPr>
        <p:txBody>
          <a:bodyPr lIns="91424" tIns="91424" rIns="91424" bIns="91424"/>
          <a:lstStyle>
            <a:lvl1pPr marL="609584" indent="-4063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600"/>
              <a:buChar char="●"/>
              <a:defRPr sz="16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69" indent="-406390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600"/>
              <a:buChar char="○"/>
              <a:defRPr sz="16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indent="-406390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600"/>
              <a:buChar char="■"/>
              <a:defRPr sz="16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8" indent="-4063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600"/>
              <a:buChar char="●"/>
              <a:defRPr sz="16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indent="-4063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600"/>
              <a:buChar char="○"/>
              <a:defRPr sz="16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0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65511363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ain poi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Texto do Título"/>
          <p:cNvSpPr txBox="1">
            <a:spLocks noGrp="1"/>
          </p:cNvSpPr>
          <p:nvPr>
            <p:ph type="title"/>
          </p:nvPr>
        </p:nvSpPr>
        <p:spPr>
          <a:xfrm>
            <a:off x="653666" y="600199"/>
            <a:ext cx="8490402" cy="5454402"/>
          </a:xfrm>
          <a:prstGeom prst="rect">
            <a:avLst/>
          </a:prstGeom>
        </p:spPr>
        <p:txBody>
          <a:bodyPr lIns="91424" tIns="91424" rIns="91424" bIns="91424"/>
          <a:lstStyle>
            <a:lvl1pPr>
              <a:lnSpc>
                <a:spcPct val="100000"/>
              </a:lnSpc>
              <a:defRPr sz="64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708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0816696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title and descri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" name="Google Shape;36;p9"/>
          <p:cNvSpPr/>
          <p:nvPr/>
        </p:nvSpPr>
        <p:spPr>
          <a:xfrm>
            <a:off x="6096000" y="-167"/>
            <a:ext cx="6096000" cy="6858001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defRPr sz="2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16" name="Texto do Título"/>
          <p:cNvSpPr txBox="1">
            <a:spLocks noGrp="1"/>
          </p:cNvSpPr>
          <p:nvPr>
            <p:ph type="title"/>
          </p:nvPr>
        </p:nvSpPr>
        <p:spPr>
          <a:xfrm>
            <a:off x="354000" y="1644232"/>
            <a:ext cx="5393600" cy="1976401"/>
          </a:xfrm>
          <a:prstGeom prst="rect">
            <a:avLst/>
          </a:prstGeom>
        </p:spPr>
        <p:txBody>
          <a:bodyPr lIns="91424" tIns="91424" rIns="91424" bIns="91424" anchor="b"/>
          <a:lstStyle>
            <a:lvl1pPr algn="ctr">
              <a:lnSpc>
                <a:spcPct val="100000"/>
              </a:lnSpc>
              <a:defRPr sz="5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717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354000" y="3737433"/>
            <a:ext cx="5393600" cy="1646801"/>
          </a:xfrm>
          <a:prstGeom prst="rect">
            <a:avLst/>
          </a:prstGeom>
        </p:spPr>
        <p:txBody>
          <a:bodyPr lIns="91424" tIns="91424" rIns="91424" bIns="91424"/>
          <a:lstStyle>
            <a:lvl1pPr marL="3429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indent="2540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42900" indent="7112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42900" indent="11684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42900" indent="162560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18" name="Google Shape;39;p9"/>
          <p:cNvSpPr txBox="1">
            <a:spLocks noGrp="1"/>
          </p:cNvSpPr>
          <p:nvPr>
            <p:ph type="body" sz="half" idx="21"/>
          </p:nvPr>
        </p:nvSpPr>
        <p:spPr>
          <a:xfrm>
            <a:off x="6586000" y="965433"/>
            <a:ext cx="5116001" cy="4926801"/>
          </a:xfrm>
          <a:prstGeom prst="rect">
            <a:avLst/>
          </a:prstGeom>
        </p:spPr>
        <p:txBody>
          <a:bodyPr lIns="91424" tIns="91424" rIns="91424" bIns="91424" anchor="ctr"/>
          <a:lstStyle/>
          <a:p>
            <a:pPr marL="609584" indent="-4571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19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4123581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415600" y="5640766"/>
            <a:ext cx="7998401" cy="806801"/>
          </a:xfrm>
          <a:prstGeom prst="rect">
            <a:avLst/>
          </a:prstGeom>
        </p:spPr>
        <p:txBody>
          <a:bodyPr lIns="91424" tIns="91424" rIns="91424" bIns="91424" anchor="ctr"/>
          <a:lstStyle>
            <a:lvl1pPr marL="304792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indent="-317500">
              <a:lnSpc>
                <a:spcPct val="100000"/>
              </a:lnSpc>
              <a:spcBef>
                <a:spcPts val="0"/>
              </a:spcBef>
              <a:buSzPts val="1800"/>
              <a:buFontTx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indent="-317500">
              <a:lnSpc>
                <a:spcPct val="100000"/>
              </a:lnSpc>
              <a:spcBef>
                <a:spcPts val="0"/>
              </a:spcBef>
              <a:buSzPts val="1800"/>
              <a:buFontTx/>
              <a:buChar char="■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indent="-317500">
              <a:lnSpc>
                <a:spcPct val="100000"/>
              </a:lnSpc>
              <a:spcBef>
                <a:spcPts val="0"/>
              </a:spcBef>
              <a:buSzPts val="1800"/>
              <a:buFontTx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indent="-317500">
              <a:lnSpc>
                <a:spcPct val="100000"/>
              </a:lnSpc>
              <a:spcBef>
                <a:spcPts val="0"/>
              </a:spcBef>
              <a:buSzPts val="1800"/>
              <a:buFontTx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2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6417974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numb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" name="xx%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1" cy="2618001"/>
          </a:xfrm>
          <a:prstGeom prst="rect">
            <a:avLst/>
          </a:prstGeom>
        </p:spPr>
        <p:txBody>
          <a:bodyPr lIns="91424" tIns="91424" rIns="91424" bIns="91424" anchor="b"/>
          <a:lstStyle>
            <a:lvl1pPr algn="ctr">
              <a:lnSpc>
                <a:spcPct val="100000"/>
              </a:lnSpc>
              <a:defRPr sz="16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xx%</a:t>
            </a:r>
          </a:p>
        </p:txBody>
      </p:sp>
      <p:sp>
        <p:nvSpPr>
          <p:cNvPr id="735" name="Nível de Corpo Um…"/>
          <p:cNvSpPr txBox="1">
            <a:spLocks noGrp="1"/>
          </p:cNvSpPr>
          <p:nvPr>
            <p:ph type="body" sz="half" idx="1"/>
          </p:nvPr>
        </p:nvSpPr>
        <p:spPr>
          <a:xfrm>
            <a:off x="415600" y="4202967"/>
            <a:ext cx="11360801" cy="1734401"/>
          </a:xfrm>
          <a:prstGeom prst="rect">
            <a:avLst/>
          </a:prstGeom>
        </p:spPr>
        <p:txBody>
          <a:bodyPr lIns="91424" tIns="91424" rIns="91424" bIns="91424"/>
          <a:lstStyle>
            <a:lvl1pPr marL="609584" indent="-457189" algn="ctr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69" indent="-423322" algn="ctr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indent="-423322" algn="ctr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■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8" indent="-423322" algn="ctr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●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indent="-423322" algn="ctr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Char char="○"/>
              <a:defRPr sz="18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3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6914021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40000" y="239400"/>
            <a:ext cx="11712000" cy="6379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21537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G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3" name="Google Shape;51;p13" descr="Google Shape;51;p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" y="1"/>
            <a:ext cx="12192001" cy="6857997"/>
          </a:xfrm>
          <a:prstGeom prst="rect">
            <a:avLst/>
          </a:prstGeom>
          <a:ln w="12700">
            <a:miter lim="400000"/>
          </a:ln>
        </p:spPr>
      </p:pic>
      <p:sp>
        <p:nvSpPr>
          <p:cNvPr id="744" name="Texto do Título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11360801" cy="763601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100000"/>
              </a:lnSpc>
              <a:defRPr sz="2800">
                <a:solidFill>
                  <a:srgbClr val="78909C"/>
                </a:solidFill>
                <a:latin typeface="Poppins Black"/>
                <a:ea typeface="Poppins Black"/>
                <a:cs typeface="Poppins Black"/>
                <a:sym typeface="Poppins Black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745" name="Nível de Corpo Um…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1" cy="4555200"/>
          </a:xfrm>
          <a:prstGeom prst="rect">
            <a:avLst/>
          </a:prstGeom>
        </p:spPr>
        <p:txBody>
          <a:bodyPr lIns="91424" tIns="91424" rIns="91424" bIns="91424"/>
          <a:lstStyle>
            <a:lvl1pPr marL="609584" indent="-457189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Font typeface="Helvetica"/>
              <a:buChar char="●"/>
              <a:defRPr sz="1800">
                <a:solidFill>
                  <a:srgbClr val="595959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1219169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Font typeface="Helvetica"/>
              <a:buChar char="○"/>
              <a:defRPr sz="1800">
                <a:solidFill>
                  <a:srgbClr val="595959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L="182875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Font typeface="Helvetica"/>
              <a:buChar char="■"/>
              <a:defRPr sz="1800">
                <a:solidFill>
                  <a:srgbClr val="595959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L="2438338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Font typeface="Helvetica"/>
              <a:buChar char="●"/>
              <a:defRPr sz="1800">
                <a:solidFill>
                  <a:srgbClr val="595959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L="3047924" indent="-423322">
              <a:lnSpc>
                <a:spcPct val="115000"/>
              </a:lnSpc>
              <a:spcBef>
                <a:spcPts val="0"/>
              </a:spcBef>
              <a:buClr>
                <a:srgbClr val="595959"/>
              </a:buClr>
              <a:buSzPts val="1800"/>
              <a:buFont typeface="Helvetica"/>
              <a:buChar char="○"/>
              <a:defRPr sz="1800">
                <a:solidFill>
                  <a:srgbClr val="595959"/>
                </a:solidFill>
                <a:latin typeface="Poppins"/>
                <a:ea typeface="Poppins"/>
                <a:cs typeface="Poppins"/>
                <a:sym typeface="Poppins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4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649020" y="6296048"/>
            <a:ext cx="379192" cy="36795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>
              <a:defRPr sz="13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9245998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F22E55-27D1-0E9F-D175-7FE0D916A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0E180F7-7D3A-BE07-2606-F93E54AC11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2B03AF6-3453-0B69-C65F-86BD2CD52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722CB9-EAFC-5C73-DAC0-A8C3EA732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6C4A53-0C6F-0BAF-283B-DB4E3ECEF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752584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60FF07-C393-AAC3-6630-29722F49E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2D05C51-7780-E4AE-B19B-74DF9D672A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C7113A5-0979-8FF3-CBAF-3D365927A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77C41B6-83DE-8B1A-CAB6-6A16F17FF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FBA5F5C-9E85-3349-8EEB-BC27B12FB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896865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048EF2-E8A8-9F4A-0CCE-18F0602C2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B4C152D-6594-2339-225B-1625F4318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D6D8D57-65B2-B793-AE71-5F3E4DA12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25328C8-AE38-D077-10F1-1949016B3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55878A7-49A7-10C4-2CCD-A04587E43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59711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FC3F3B2-08E6-2DA6-3E24-335D0554F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21F37B-A2C2-7712-341D-1595179C55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4FE0D94-DCE5-642A-6662-5591321134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5527F27-8B26-FE54-37E0-04942D00A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066DF6D-614B-ECE0-3A60-2B248B02C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14205E2-9D64-73A7-FCCE-C4A667617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01927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EB4BF8-C4AC-0379-82A6-BD3977E9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41FA6-7C3E-56B8-1079-68C1F3C3F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62CEDF9-C21D-8113-DE63-AF33B5772A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9016817-95AC-DA4A-587A-45FCD529EB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485A969-3659-0F82-6CFC-0E6221ACDC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972E724-D156-C69F-8934-7D38E0637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57B9E4E-0C7D-D30A-53E7-A6C009788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A230EAF-33B1-A71A-7D3B-24DD50354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669953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E39C11-D291-0BD3-6F58-72FB98348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C9878CF-498C-4A82-0BF6-8541EED59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C8EDC0C-9A65-94CF-9F40-66122B0E5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FD5F899-FFD9-2555-8964-5F8577B79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8335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4EA601D-5334-5B24-CD31-4BA8B9282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54D70E6-7DAE-D5ED-ECDE-19F79E8A5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1B0C65-D7CF-4D92-DD47-F67BDF268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813498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5F62BA-8691-2007-FBB7-4A92F2D0A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E4E2B1B-7B79-239E-3352-0F8B95956D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EF5404-8B5F-7F3A-203A-EB2BADDA75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DF1744A-0B5E-DF05-0109-39C455910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F143F43-365F-98F2-E1E6-7518404F4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29CE786-C167-3AF9-EA89-21C4ACA6E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166225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973F61-FC18-3F9D-B856-6068D7002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334F0B4-EEDA-A40E-72FD-28A38C8349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E2D956E-5788-7A63-BD43-05093943CA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417220C-3D28-507A-AE10-DA79CC454C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3002B42-A04F-30A9-9092-CD7875D1A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BDA0448-D079-DB9B-5372-0F5820FD8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3594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60000" y="590007"/>
            <a:ext cx="10272000" cy="5708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367808" y="0"/>
            <a:ext cx="3456384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AF425823-2BFA-0067-CDD1-511BE87EF623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05A663D-B6AA-7831-E178-BAAEB731474C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D85CE8BC-5D20-D0D0-1194-37147729C64C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43E1649-EE15-F884-888C-AE7DAD925EA8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F1921596-E15C-587D-153C-529B62F4CB81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07823241-7759-816F-3F7E-B6DB8063D30A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8725A8A9-C666-AE10-CEA1-1D3D6355216A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87976A5F-B786-B5E8-0F08-EB82D0A862A0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B6659BB5-CF5D-8083-29F8-4A6AEAF5208A}"/>
              </a:ext>
            </a:extLst>
          </p:cNvPr>
          <p:cNvSpPr/>
          <p:nvPr userDrawn="1"/>
        </p:nvSpPr>
        <p:spPr>
          <a:xfrm>
            <a:off x="-829994" y="3856152"/>
            <a:ext cx="365760" cy="309489"/>
          </a:xfrm>
          <a:prstGeom prst="rect">
            <a:avLst/>
          </a:prstGeom>
          <a:solidFill>
            <a:srgbClr val="C365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5833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F2EB91-AA4E-E99A-1969-897051954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9C5C9B5-CE1C-0CF3-A020-E6A127E5E4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9562F7A-995C-5D3A-702A-328CB159E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D11185F-1CBB-C680-F343-6B059FFF4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9C69F8-4F02-1B02-6C4D-80889DF4D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1404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10C25A1-03E7-A568-8CB9-2ED5405584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9E1259C2-063F-CD91-FAE8-5CE89DFFE5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27B66D7-0482-8872-0023-077B48BCD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F9FA7B8-D5AD-28FA-101B-2E058479F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7C0D9AA-46EE-5A4B-1DB5-95CBC3D25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757440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72CFA6-4069-4B90-5F08-18F9C4FCC4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EE42478-9CA0-78B2-6FAF-CA85A05A56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138AFD7-3B2B-7844-3DD4-C2CB77AEA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649196-32E1-E385-23B9-381F1BCAA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BD3F853-6508-18CE-DED9-DBBAF1467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372202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07093C-BCFA-704E-9EC2-605D3EE96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05AA839-4A23-432F-12C0-5DCE8CB2CA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349D5A6-3750-76E0-285B-E169610BA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91EB74D-5E30-F72A-F0E9-22DF39476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9864E50-F4DC-B02B-66D9-64703B7AC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066584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17D6792-D1CB-5456-BD81-DC1D105F8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E1DBFB1-F591-E27B-0770-5DB6D2C6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68AE3E2-8B98-F0AD-CBF1-F8996E442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309F250-41ED-C853-825A-8B22CBD24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7178CC0-5B6B-AA94-2079-8A43C8986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816761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04EB65-DB7E-CC68-50DA-3E1BD11CF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785737C-440C-DA70-1345-2ADB9B40FC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E9C48EB-B57F-CD65-4BCB-53A2FBC381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F0C853B-487A-B623-F57C-F7FF02E49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FABB8F8-E3FA-99D3-D282-766DB93F7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555A657-9A72-69B7-4712-BBE242876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47934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61F1D5-A518-C151-AE30-9ED78E262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4D99A2-7134-091E-DBF4-AB1115CB11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0D5FB49-436D-17B8-4658-FA5D8D86C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2CE2030-D50E-F217-035D-81B11C60EB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25AB004-088D-77EB-4F9D-74D2B4330E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4C4402F0-0FE9-7170-42B0-774370F0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83A5273-1F11-2910-6D16-05B15480C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45584787-E5E5-D452-5DC1-D5571D57A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609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2E9FBF-9521-3A45-0668-B992CC921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2225A7BF-712A-F070-5739-3356B8E4D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6C0FD07-2D73-9AF1-A14A-CBFE858B6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F9A305C-68DF-88AB-F2C7-562858750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458994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197752B-9D27-884A-5461-59AF19493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A5BEF49-B4F9-50C7-58ED-5908E93E4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391937-8B3A-61A1-3226-A68394603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326418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B773A7-57C1-3613-A407-5EFC9CD8B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C92C2C0-355C-8980-B671-006592E8BF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788EC5C-CBCF-1C19-6778-E8E66BE98A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207C2A1-EC07-A35F-4D0B-1DD7BE4B8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0821DC6-4CF3-490F-8426-3D4958083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30B9FBA-5327-2A88-43C3-D43B2C3EB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7732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07" y="2180862"/>
            <a:ext cx="5622861" cy="3080977"/>
          </a:xfrm>
          <a:prstGeom prst="rect">
            <a:avLst/>
          </a:prstGeom>
        </p:spPr>
      </p:pic>
      <p:sp>
        <p:nvSpPr>
          <p:cNvPr id="9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810352" y="2308196"/>
            <a:ext cx="3936437" cy="25409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" y="0"/>
            <a:ext cx="12144672" cy="1152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pic>
        <p:nvPicPr>
          <p:cNvPr id="8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575" y="141043"/>
            <a:ext cx="636320" cy="9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1210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1722DA5-F5F3-2AC8-6455-906C66C13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26F9F45-EF16-B37A-7988-962C95CD4D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71AE4EF-ADB4-380C-ABE7-B63BD6D3B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60FA42-51DD-62A3-7DC9-14BB7AD0C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F857FC1-8855-3CD2-EE63-3A85ADFCD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04AE19E-C699-1504-679E-8431D6C4C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81602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16DB95-AF59-B4C2-78AE-F289D8FB3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3683E6-4742-9EA2-B6FC-59C470C3B5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0356313-D70A-56CC-5DBB-D87A6D3BA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880E1F-1B39-E43A-F674-30EA3D61F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50A910E-0A24-769B-E0E1-1F8865917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025823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2E4AA8E-7AEF-B4AE-0F1E-E56061631D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A85DA9-3A89-CAF6-434C-A6AA58E694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D995C9C-AE64-7043-6757-546A2FE2E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A73A7-41C7-5A48-8310-CD8D266C07B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069AD46-73DC-330B-A532-50A2EE029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4CC4089-36A4-81AC-D1C3-46564D1F2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F8967-AD33-C046-9707-EEB8A271E2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47246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aginas Internas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5" name="Image 0" descr="Image 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400800"/>
            <a:ext cx="12192000" cy="457200"/>
          </a:xfrm>
          <a:prstGeom prst="rect">
            <a:avLst/>
          </a:prstGeom>
          <a:ln w="12700">
            <a:miter lim="400000"/>
          </a:ln>
        </p:spPr>
      </p:pic>
      <p:sp>
        <p:nvSpPr>
          <p:cNvPr id="1066" name="Text 4"/>
          <p:cNvSpPr txBox="1">
            <a:spLocks noGrp="1"/>
          </p:cNvSpPr>
          <p:nvPr>
            <p:ph type="body" sz="quarter" idx="21"/>
          </p:nvPr>
        </p:nvSpPr>
        <p:spPr>
          <a:xfrm>
            <a:off x="177800" y="190501"/>
            <a:ext cx="1765300" cy="29565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2267"/>
              </a:lnSpc>
              <a:buSzTx/>
              <a:buFontTx/>
              <a:buNone/>
              <a:defRPr sz="2200"/>
            </a:lvl1pPr>
          </a:lstStyle>
          <a:p>
            <a:r>
              <a:t>Título pequeno</a:t>
            </a:r>
          </a:p>
        </p:txBody>
      </p:sp>
      <p:sp>
        <p:nvSpPr>
          <p:cNvPr id="1067" name="Text 15"/>
          <p:cNvSpPr txBox="1">
            <a:spLocks noGrp="1"/>
          </p:cNvSpPr>
          <p:nvPr>
            <p:ph type="body" sz="half" idx="22"/>
          </p:nvPr>
        </p:nvSpPr>
        <p:spPr>
          <a:xfrm>
            <a:off x="177800" y="1009650"/>
            <a:ext cx="6400800" cy="45711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5400"/>
              </a:lnSpc>
              <a:buSzTx/>
              <a:buFontTx/>
              <a:buNone/>
              <a:defRPr sz="8600">
                <a:gradFill flip="none" rotWithShape="1">
                  <a:gsLst>
                    <a:gs pos="0">
                      <a:srgbClr val="05A6FF"/>
                    </a:gs>
                    <a:gs pos="100000">
                      <a:srgbClr val="8800F8"/>
                    </a:gs>
                  </a:gsLst>
                  <a:lin ang="0" scaled="0"/>
                </a:gradFill>
              </a:defRPr>
            </a:lvl1pPr>
          </a:lstStyle>
          <a:p>
            <a:pPr marL="0" indent="0">
              <a:lnSpc>
                <a:spcPts val="8100"/>
              </a:lnSpc>
              <a:buSzTx/>
              <a:buFontTx/>
              <a:buNone/>
              <a:defRPr sz="8600">
                <a:gradFill flip="none" rotWithShape="1">
                  <a:gsLst>
                    <a:gs pos="0">
                      <a:srgbClr val="05A6FF"/>
                    </a:gs>
                    <a:gs pos="100000">
                      <a:srgbClr val="8800F8"/>
                    </a:gs>
                  </a:gsLst>
                  <a:lin ang="0" scaled="0"/>
                </a:gradFill>
              </a:defRPr>
            </a:pPr>
            <a:r>
              <a:t>Acreditamos </a:t>
            </a:r>
          </a:p>
          <a:p>
            <a:pPr marL="0" indent="0">
              <a:lnSpc>
                <a:spcPts val="8100"/>
              </a:lnSpc>
              <a:buSzTx/>
              <a:buFontTx/>
              <a:buNone/>
              <a:defRPr sz="8600">
                <a:gradFill flip="none" rotWithShape="1">
                  <a:gsLst>
                    <a:gs pos="0">
                      <a:srgbClr val="05A6FF"/>
                    </a:gs>
                    <a:gs pos="100000">
                      <a:srgbClr val="8800F8"/>
                    </a:gs>
                  </a:gsLst>
                  <a:lin ang="0" scaled="0"/>
                </a:gradFill>
              </a:defRPr>
            </a:pPr>
            <a:r>
              <a:t>que a vida </a:t>
            </a:r>
          </a:p>
          <a:p>
            <a:pPr marL="0" indent="0">
              <a:lnSpc>
                <a:spcPts val="8100"/>
              </a:lnSpc>
              <a:buSzTx/>
              <a:buFontTx/>
              <a:buNone/>
              <a:defRPr sz="8600">
                <a:gradFill flip="none" rotWithShape="1">
                  <a:gsLst>
                    <a:gs pos="0">
                      <a:srgbClr val="05A6FF"/>
                    </a:gs>
                    <a:gs pos="100000">
                      <a:srgbClr val="8800F8"/>
                    </a:gs>
                  </a:gsLst>
                  <a:lin ang="0" scaled="0"/>
                </a:gradFill>
              </a:defRPr>
            </a:pPr>
            <a:r>
              <a:t>é uma coleção </a:t>
            </a:r>
          </a:p>
          <a:p>
            <a:pPr marL="0" indent="0">
              <a:lnSpc>
                <a:spcPts val="8100"/>
              </a:lnSpc>
              <a:buSzTx/>
              <a:buFontTx/>
              <a:buNone/>
              <a:defRPr sz="8600">
                <a:gradFill flip="none" rotWithShape="1">
                  <a:gsLst>
                    <a:gs pos="0">
                      <a:srgbClr val="05A6FF"/>
                    </a:gs>
                    <a:gs pos="100000">
                      <a:srgbClr val="8800F8"/>
                    </a:gs>
                  </a:gsLst>
                  <a:lin ang="0" scaled="0"/>
                </a:gradFill>
              </a:defRPr>
            </a:pPr>
            <a:r>
              <a:t>de histórias.</a:t>
            </a:r>
          </a:p>
        </p:txBody>
      </p:sp>
      <p:sp>
        <p:nvSpPr>
          <p:cNvPr id="1068" name="Text 3"/>
          <p:cNvSpPr txBox="1">
            <a:spLocks noGrp="1"/>
          </p:cNvSpPr>
          <p:nvPr>
            <p:ph type="body" sz="quarter" idx="23"/>
          </p:nvPr>
        </p:nvSpPr>
        <p:spPr>
          <a:xfrm>
            <a:off x="11747500" y="6598742"/>
            <a:ext cx="254000" cy="1351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lnSpc>
                <a:spcPts val="1067"/>
              </a:lnSpc>
              <a:buSzTx/>
              <a:buFontTx/>
              <a:buNone/>
              <a:defRPr sz="867"/>
            </a:lvl1pPr>
          </a:lstStyle>
          <a:p>
            <a:r>
              <a:t>2023</a:t>
            </a:r>
          </a:p>
        </p:txBody>
      </p:sp>
      <p:sp>
        <p:nvSpPr>
          <p:cNvPr id="1069" name="Text 19"/>
          <p:cNvSpPr txBox="1">
            <a:spLocks noGrp="1"/>
          </p:cNvSpPr>
          <p:nvPr>
            <p:ph type="body" sz="quarter" idx="24"/>
          </p:nvPr>
        </p:nvSpPr>
        <p:spPr>
          <a:xfrm>
            <a:off x="4679950" y="6598742"/>
            <a:ext cx="2863850" cy="1351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1067"/>
              </a:lnSpc>
              <a:buSzTx/>
              <a:buFontTx/>
              <a:buNone/>
              <a:defRPr sz="867"/>
            </a:lvl1pPr>
          </a:lstStyle>
          <a:p>
            <a:r>
              <a:t>Projeto</a:t>
            </a:r>
          </a:p>
        </p:txBody>
      </p:sp>
      <p:sp>
        <p:nvSpPr>
          <p:cNvPr id="1070" name="Text 20"/>
          <p:cNvSpPr txBox="1">
            <a:spLocks noGrp="1"/>
          </p:cNvSpPr>
          <p:nvPr>
            <p:ph type="body" sz="quarter" idx="25"/>
          </p:nvPr>
        </p:nvSpPr>
        <p:spPr>
          <a:xfrm>
            <a:off x="7677150" y="6598742"/>
            <a:ext cx="2534285" cy="1351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1067"/>
              </a:lnSpc>
              <a:buSzTx/>
              <a:buFontTx/>
              <a:buNone/>
              <a:defRPr sz="867"/>
            </a:lvl1pPr>
          </a:lstStyle>
          <a:p>
            <a:r>
              <a:t>Nome da Área</a:t>
            </a:r>
          </a:p>
        </p:txBody>
      </p:sp>
      <p:sp>
        <p:nvSpPr>
          <p:cNvPr id="1071" name="Text 21"/>
          <p:cNvSpPr txBox="1">
            <a:spLocks noGrp="1"/>
          </p:cNvSpPr>
          <p:nvPr>
            <p:ph type="body" sz="quarter" idx="26"/>
          </p:nvPr>
        </p:nvSpPr>
        <p:spPr>
          <a:xfrm>
            <a:off x="10344784" y="6598742"/>
            <a:ext cx="837566" cy="1351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lnSpc>
                <a:spcPts val="1067"/>
              </a:lnSpc>
              <a:buSzTx/>
              <a:buFontTx/>
              <a:buNone/>
              <a:defRPr sz="867"/>
            </a:lvl1pPr>
          </a:lstStyle>
          <a:p>
            <a:r>
              <a:t>Versão 1.0</a:t>
            </a:r>
          </a:p>
        </p:txBody>
      </p:sp>
      <p:sp>
        <p:nvSpPr>
          <p:cNvPr id="107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855450" y="197941"/>
            <a:ext cx="146050" cy="403946"/>
          </a:xfrm>
          <a:prstGeom prst="rect">
            <a:avLst/>
          </a:prstGeom>
        </p:spPr>
        <p:txBody>
          <a:bodyPr wrap="square" lIns="0" tIns="0" rIns="0" bIns="0" anchor="t"/>
          <a:lstStyle>
            <a:lvl1pPr>
              <a:lnSpc>
                <a:spcPts val="1600"/>
              </a:lnSpc>
              <a:defRPr sz="1467"/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254144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308" y="724817"/>
            <a:ext cx="2320147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C64DFBE-D021-44BF-84ED-0689DA9792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5292083"/>
            <a:ext cx="12191999" cy="576000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TERT THE TITLE</a:t>
            </a:r>
          </a:p>
          <a:p>
            <a:pPr lvl="0"/>
            <a:r>
              <a:rPr lang="en-US" altLang="ko-KR"/>
              <a:t>OF YOUR PRESENTATION HERE</a:t>
            </a:r>
            <a:endParaRPr lang="ko-KR" altLang="en-US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68088BE3-25C4-4317-8E12-7D1A9D090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556556"/>
            <a:ext cx="12191997" cy="720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FREE PPT TEMPLATES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538854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3429001"/>
            <a:ext cx="12192001" cy="3429000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007435" y="2381433"/>
            <a:ext cx="2256000" cy="2256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50800">
            <a:solidFill>
              <a:srgbClr val="BC303C"/>
            </a:solidFill>
          </a:ln>
        </p:spPr>
        <p:txBody>
          <a:bodyPr anchor="ctr"/>
          <a:lstStyle>
            <a:lvl1pPr marL="0" indent="0" algn="ctr">
              <a:buNone/>
              <a:defRPr sz="1600" baseline="0"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58E4D330-9A3E-28DE-2C94-522C61C76E38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FBB5D2D7-1FFD-B768-66D5-684CF0D1C65F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E46D9D0E-D4E3-D87C-ABB1-DB4A7893F909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D44E607-52DE-85BA-53A6-16777F4530C1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34340516-D4C2-EEE0-1B35-D709B1FF5F95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36A55C0A-D357-B1E3-A2E3-564C26151C4A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92EC1B9C-7322-D30C-1C4B-AD994B3C413B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8F328C0D-BD18-6620-246F-84D3E47AEB61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45155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5E8BD036-1E0F-70D6-33C5-53DACEF9003C}"/>
              </a:ext>
            </a:extLst>
          </p:cNvPr>
          <p:cNvSpPr/>
          <p:nvPr userDrawn="1"/>
        </p:nvSpPr>
        <p:spPr>
          <a:xfrm>
            <a:off x="0" y="-25499"/>
            <a:ext cx="12200750" cy="6908998"/>
          </a:xfrm>
          <a:prstGeom prst="rect">
            <a:avLst/>
          </a:prstGeom>
          <a:gradFill flip="none" rotWithShape="1">
            <a:gsLst>
              <a:gs pos="60000">
                <a:srgbClr val="002060"/>
              </a:gs>
              <a:gs pos="30000">
                <a:srgbClr val="002060"/>
              </a:gs>
              <a:gs pos="0">
                <a:srgbClr val="0070C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0256198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418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4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3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4922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54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407701" y="1685331"/>
            <a:ext cx="3696000" cy="460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978336" y="1685331"/>
            <a:ext cx="2447701" cy="23042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Rectangle 7"/>
          <p:cNvSpPr/>
          <p:nvPr userDrawn="1"/>
        </p:nvSpPr>
        <p:spPr>
          <a:xfrm>
            <a:off x="978336" y="3989075"/>
            <a:ext cx="2447701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9" name="Rectangle 8"/>
          <p:cNvSpPr/>
          <p:nvPr userDrawn="1"/>
        </p:nvSpPr>
        <p:spPr>
          <a:xfrm>
            <a:off x="1" y="0"/>
            <a:ext cx="12144672" cy="1152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pic>
        <p:nvPicPr>
          <p:cNvPr id="13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575" y="141043"/>
            <a:ext cx="636320" cy="9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111DE398-E352-0ADB-829D-5F71569E3E9B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8FA60758-92D2-45A8-D695-345A5EFE75DC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5D5CDFF7-35EE-5B19-6572-78B580CDD059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3609E1F-F4DE-380B-D51E-461023FB0389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8E43404B-5EA8-1BCF-9C86-5C86FFCF6E3B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392B1652-4608-BA4C-77FF-844609BF0C01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7E3C948E-1A1C-1514-05C4-DBF99DCF1511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CBA52368-2BA5-8AF0-2BFE-6DCD830946E5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18476A38-D440-C311-F222-C757C2B5D3B3}"/>
              </a:ext>
            </a:extLst>
          </p:cNvPr>
          <p:cNvSpPr/>
          <p:nvPr userDrawn="1"/>
        </p:nvSpPr>
        <p:spPr>
          <a:xfrm>
            <a:off x="-829994" y="3856152"/>
            <a:ext cx="365760" cy="309489"/>
          </a:xfrm>
          <a:prstGeom prst="rect">
            <a:avLst/>
          </a:prstGeom>
          <a:solidFill>
            <a:srgbClr val="C365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55396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10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75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50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260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01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376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520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27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02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5096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91695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753" indent="0">
              <a:buNone/>
              <a:defRPr sz="1333" b="1"/>
            </a:lvl2pPr>
            <a:lvl3pPr marL="609506" indent="0">
              <a:buNone/>
              <a:defRPr sz="1200" b="1"/>
            </a:lvl3pPr>
            <a:lvl4pPr marL="914260" indent="0">
              <a:buNone/>
              <a:defRPr sz="1067" b="1"/>
            </a:lvl4pPr>
            <a:lvl5pPr marL="1219014" indent="0">
              <a:buNone/>
              <a:defRPr sz="1067" b="1"/>
            </a:lvl5pPr>
            <a:lvl6pPr marL="1523767" indent="0">
              <a:buNone/>
              <a:defRPr sz="1067" b="1"/>
            </a:lvl6pPr>
            <a:lvl7pPr marL="1828520" indent="0">
              <a:buNone/>
              <a:defRPr sz="1067" b="1"/>
            </a:lvl7pPr>
            <a:lvl8pPr marL="2133274" indent="0">
              <a:buNone/>
              <a:defRPr sz="1067" b="1"/>
            </a:lvl8pPr>
            <a:lvl9pPr marL="2438027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5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753" indent="0">
              <a:buNone/>
              <a:defRPr sz="1333" b="1"/>
            </a:lvl2pPr>
            <a:lvl3pPr marL="609506" indent="0">
              <a:buNone/>
              <a:defRPr sz="1200" b="1"/>
            </a:lvl3pPr>
            <a:lvl4pPr marL="914260" indent="0">
              <a:buNone/>
              <a:defRPr sz="1067" b="1"/>
            </a:lvl4pPr>
            <a:lvl5pPr marL="1219014" indent="0">
              <a:buNone/>
              <a:defRPr sz="1067" b="1"/>
            </a:lvl5pPr>
            <a:lvl6pPr marL="1523767" indent="0">
              <a:buNone/>
              <a:defRPr sz="1067" b="1"/>
            </a:lvl6pPr>
            <a:lvl7pPr marL="1828520" indent="0">
              <a:buNone/>
              <a:defRPr sz="1067" b="1"/>
            </a:lvl7pPr>
            <a:lvl8pPr marL="2133274" indent="0">
              <a:buNone/>
              <a:defRPr sz="1067" b="1"/>
            </a:lvl8pPr>
            <a:lvl9pPr marL="2438027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5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8162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4357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70500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4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8" y="182035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5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753" indent="0">
              <a:buNone/>
              <a:defRPr sz="800"/>
            </a:lvl2pPr>
            <a:lvl3pPr marL="609506" indent="0">
              <a:buNone/>
              <a:defRPr sz="667"/>
            </a:lvl3pPr>
            <a:lvl4pPr marL="914260" indent="0">
              <a:buNone/>
              <a:defRPr sz="600"/>
            </a:lvl4pPr>
            <a:lvl5pPr marL="1219014" indent="0">
              <a:buNone/>
              <a:defRPr sz="600"/>
            </a:lvl5pPr>
            <a:lvl6pPr marL="1523767" indent="0">
              <a:buNone/>
              <a:defRPr sz="600"/>
            </a:lvl6pPr>
            <a:lvl7pPr marL="1828520" indent="0">
              <a:buNone/>
              <a:defRPr sz="600"/>
            </a:lvl7pPr>
            <a:lvl8pPr marL="2133274" indent="0">
              <a:buNone/>
              <a:defRPr sz="600"/>
            </a:lvl8pPr>
            <a:lvl9pPr marL="2438027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40204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753" indent="0">
              <a:buNone/>
              <a:defRPr sz="1867"/>
            </a:lvl2pPr>
            <a:lvl3pPr marL="609506" indent="0">
              <a:buNone/>
              <a:defRPr sz="1600"/>
            </a:lvl3pPr>
            <a:lvl4pPr marL="914260" indent="0">
              <a:buNone/>
              <a:defRPr sz="1333"/>
            </a:lvl4pPr>
            <a:lvl5pPr marL="1219014" indent="0">
              <a:buNone/>
              <a:defRPr sz="1333"/>
            </a:lvl5pPr>
            <a:lvl6pPr marL="1523767" indent="0">
              <a:buNone/>
              <a:defRPr sz="1333"/>
            </a:lvl6pPr>
            <a:lvl7pPr marL="1828520" indent="0">
              <a:buNone/>
              <a:defRPr sz="1333"/>
            </a:lvl7pPr>
            <a:lvl8pPr marL="2133274" indent="0">
              <a:buNone/>
              <a:defRPr sz="1333"/>
            </a:lvl8pPr>
            <a:lvl9pPr marL="2438027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6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753" indent="0">
              <a:buNone/>
              <a:defRPr sz="800"/>
            </a:lvl2pPr>
            <a:lvl3pPr marL="609506" indent="0">
              <a:buNone/>
              <a:defRPr sz="667"/>
            </a:lvl3pPr>
            <a:lvl4pPr marL="914260" indent="0">
              <a:buNone/>
              <a:defRPr sz="600"/>
            </a:lvl4pPr>
            <a:lvl5pPr marL="1219014" indent="0">
              <a:buNone/>
              <a:defRPr sz="600"/>
            </a:lvl5pPr>
            <a:lvl6pPr marL="1523767" indent="0">
              <a:buNone/>
              <a:defRPr sz="600"/>
            </a:lvl6pPr>
            <a:lvl7pPr marL="1828520" indent="0">
              <a:buNone/>
              <a:defRPr sz="600"/>
            </a:lvl7pPr>
            <a:lvl8pPr marL="2133274" indent="0">
              <a:buNone/>
              <a:defRPr sz="600"/>
            </a:lvl8pPr>
            <a:lvl9pPr marL="2438027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22539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8263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19173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70521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215680" y="5253203"/>
            <a:ext cx="2880320" cy="16047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9" name="Rectangle 8"/>
          <p:cNvSpPr/>
          <p:nvPr userDrawn="1"/>
        </p:nvSpPr>
        <p:spPr>
          <a:xfrm>
            <a:off x="6096000" y="0"/>
            <a:ext cx="2880320" cy="16047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215680" y="0"/>
            <a:ext cx="2880000" cy="52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096320" y="1578000"/>
            <a:ext cx="2880000" cy="52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407C68CA-BA79-C749-D1C5-E21BB3A3E3A0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834FBCAF-61EB-9F3C-52EA-FF5C3E6E86C3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39C74832-0EFA-BCB6-97C7-B9EF7DE4C5A2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A191660-BF88-DC4C-5407-190242ED5912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83B965E4-4B42-FBBA-B31C-08A00FFF5E03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3DD6A268-9BB1-169E-D333-331E53F5C78B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555169DF-2E1E-4323-7A9E-CB5F4DE491AC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BD8A7476-01F2-9AC2-F432-14EFF97AB1DA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546E2D4C-1480-5451-5C26-0C1744728E83}"/>
              </a:ext>
            </a:extLst>
          </p:cNvPr>
          <p:cNvSpPr/>
          <p:nvPr userDrawn="1"/>
        </p:nvSpPr>
        <p:spPr>
          <a:xfrm>
            <a:off x="-829994" y="3856152"/>
            <a:ext cx="365760" cy="309489"/>
          </a:xfrm>
          <a:prstGeom prst="rect">
            <a:avLst/>
          </a:prstGeom>
          <a:solidFill>
            <a:srgbClr val="C365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96702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270819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7934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0519712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399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4858325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6487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Picture Placeholder 2"/>
          <p:cNvSpPr>
            <a:spLocks noGrp="1"/>
          </p:cNvSpPr>
          <p:nvPr>
            <p:ph type="pic" idx="21"/>
          </p:nvPr>
        </p:nvSpPr>
        <p:spPr>
          <a:xfrm>
            <a:off x="240000" y="239399"/>
            <a:ext cx="11712000" cy="637920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7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605211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60FF07-C393-AAC3-6630-29722F49E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2D05C51-7780-E4AE-B19B-74DF9D672A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C7113A5-0979-8FF3-CBAF-3D365927A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77C41B6-83DE-8B1A-CAB6-6A16F17FF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FBA5F5C-9E85-3349-8EEB-BC27B12FB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3410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0"/>
            <a:ext cx="12144672" cy="1152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pic>
        <p:nvPicPr>
          <p:cNvPr id="1026" name="Picture 2" descr="D:\Fullppt\005-PNG이미지\모니터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3" y="1748645"/>
            <a:ext cx="4525744" cy="451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00822" y="1925232"/>
            <a:ext cx="4139060" cy="28479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pic>
        <p:nvPicPr>
          <p:cNvPr id="7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575" y="141043"/>
            <a:ext cx="636320" cy="9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8997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0" y="3853912"/>
            <a:ext cx="12192000" cy="30040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227596" y="2070578"/>
            <a:ext cx="1731401" cy="2990604"/>
            <a:chOff x="2627784" y="1825002"/>
            <a:chExt cx="1198166" cy="2069560"/>
          </a:xfrm>
        </p:grpSpPr>
        <p:sp>
          <p:nvSpPr>
            <p:cNvPr id="9" name="Rounded Rectangle 8"/>
            <p:cNvSpPr/>
            <p:nvPr/>
          </p:nvSpPr>
          <p:spPr>
            <a:xfrm>
              <a:off x="2627784" y="1825002"/>
              <a:ext cx="1198166" cy="206956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155241" y="1922844"/>
              <a:ext cx="143251" cy="27666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3168829" y="3704452"/>
              <a:ext cx="116076" cy="127684"/>
              <a:chOff x="2453209" y="5151638"/>
              <a:chExt cx="191820" cy="211002"/>
            </a:xfrm>
          </p:grpSpPr>
          <p:sp>
            <p:nvSpPr>
              <p:cNvPr id="13" name="Oval 12"/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14" name="Rounded Rectangle 13"/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</p:grpSp>
      </p:grpSp>
      <p:sp>
        <p:nvSpPr>
          <p:cNvPr id="7" name="Picture Placeholder 2"/>
          <p:cNvSpPr>
            <a:spLocks noGrp="1"/>
          </p:cNvSpPr>
          <p:nvPr userDrawn="1">
            <p:ph type="pic" idx="1" hasCustomPrompt="1"/>
          </p:nvPr>
        </p:nvSpPr>
        <p:spPr>
          <a:xfrm>
            <a:off x="1326117" y="2323779"/>
            <a:ext cx="1524232" cy="24033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3880704" y="2784806"/>
            <a:ext cx="1731401" cy="2990604"/>
            <a:chOff x="2627784" y="1825002"/>
            <a:chExt cx="1198166" cy="2069560"/>
          </a:xfrm>
        </p:grpSpPr>
        <p:sp>
          <p:nvSpPr>
            <p:cNvPr id="17" name="Rounded Rectangle 16"/>
            <p:cNvSpPr/>
            <p:nvPr/>
          </p:nvSpPr>
          <p:spPr>
            <a:xfrm>
              <a:off x="2627784" y="1825002"/>
              <a:ext cx="1198166" cy="206956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55241" y="1922844"/>
              <a:ext cx="143251" cy="27666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3168829" y="3704452"/>
              <a:ext cx="116076" cy="127684"/>
              <a:chOff x="2453209" y="5151638"/>
              <a:chExt cx="191820" cy="211002"/>
            </a:xfrm>
          </p:grpSpPr>
          <p:sp>
            <p:nvSpPr>
              <p:cNvPr id="20" name="Oval 19"/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21" name="Rounded Rectangle 20"/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</p:grpSp>
      </p:grpSp>
      <p:sp>
        <p:nvSpPr>
          <p:cNvPr id="22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979225" y="3055712"/>
            <a:ext cx="1524232" cy="24033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6533812" y="1844491"/>
            <a:ext cx="1731401" cy="2990604"/>
            <a:chOff x="2627784" y="1825002"/>
            <a:chExt cx="1198166" cy="2069560"/>
          </a:xfrm>
        </p:grpSpPr>
        <p:sp>
          <p:nvSpPr>
            <p:cNvPr id="24" name="Rounded Rectangle 23"/>
            <p:cNvSpPr/>
            <p:nvPr/>
          </p:nvSpPr>
          <p:spPr>
            <a:xfrm>
              <a:off x="2627784" y="1825002"/>
              <a:ext cx="1198166" cy="206956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55241" y="1922844"/>
              <a:ext cx="143251" cy="27666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3168829" y="3704452"/>
              <a:ext cx="116076" cy="127684"/>
              <a:chOff x="2453209" y="5151638"/>
              <a:chExt cx="191820" cy="211002"/>
            </a:xfrm>
          </p:grpSpPr>
          <p:sp>
            <p:nvSpPr>
              <p:cNvPr id="27" name="Oval 26"/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28" name="Rounded Rectangle 27"/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</p:grpSp>
      </p:grpSp>
      <p:sp>
        <p:nvSpPr>
          <p:cNvPr id="2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6632333" y="2115398"/>
            <a:ext cx="1524232" cy="24033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9186918" y="3126695"/>
            <a:ext cx="1731401" cy="2990604"/>
            <a:chOff x="2627784" y="1825002"/>
            <a:chExt cx="1198166" cy="2069560"/>
          </a:xfrm>
        </p:grpSpPr>
        <p:sp>
          <p:nvSpPr>
            <p:cNvPr id="31" name="Rounded Rectangle 30"/>
            <p:cNvSpPr/>
            <p:nvPr/>
          </p:nvSpPr>
          <p:spPr>
            <a:xfrm>
              <a:off x="2627784" y="1825002"/>
              <a:ext cx="1198166" cy="206956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155241" y="1922844"/>
              <a:ext cx="143251" cy="27666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3168829" y="3704452"/>
              <a:ext cx="116076" cy="127684"/>
              <a:chOff x="2453209" y="5151638"/>
              <a:chExt cx="191820" cy="211002"/>
            </a:xfrm>
          </p:grpSpPr>
          <p:sp>
            <p:nvSpPr>
              <p:cNvPr id="34" name="Oval 33"/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5" name="Rounded Rectangle 34"/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</p:grpSp>
      </p:grpSp>
      <p:sp>
        <p:nvSpPr>
          <p:cNvPr id="3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285440" y="3397602"/>
            <a:ext cx="1524232" cy="24033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1" y="0"/>
            <a:ext cx="12144672" cy="1152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pic>
        <p:nvPicPr>
          <p:cNvPr id="41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575" y="141043"/>
            <a:ext cx="636320" cy="9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9197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333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CON SETS LAYOUT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472011" y="1508786"/>
            <a:ext cx="3799787" cy="4865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n-lt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709243" y="1796667"/>
            <a:ext cx="144693" cy="4320631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Half Frame 15"/>
          <p:cNvSpPr/>
          <p:nvPr userDrawn="1"/>
        </p:nvSpPr>
        <p:spPr>
          <a:xfrm rot="5400000">
            <a:off x="3456857" y="1650935"/>
            <a:ext cx="669775" cy="669775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C886CD99-7AEA-4DD8-BEBD-95C79A523F38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B7F7740-003A-8B9C-8273-4ADC5AD83358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46A49F1-2D02-30C8-340B-C54ACE05BB59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36393564-4309-D26C-88E2-EEA3C30926F0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78CC0220-31B7-A819-1251-216C7F749762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A19D633-9C86-E0C5-0E6C-3878762B7F72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B4579072-B7C4-1A6C-0225-B8ABC416B9CC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CEA8E82F-D512-38D9-0430-11EC5D2C5E27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E0688109-91F3-3C1B-8862-4F64CB763527}"/>
              </a:ext>
            </a:extLst>
          </p:cNvPr>
          <p:cNvSpPr/>
          <p:nvPr userDrawn="1"/>
        </p:nvSpPr>
        <p:spPr>
          <a:xfrm>
            <a:off x="-829994" y="3856152"/>
            <a:ext cx="365760" cy="309489"/>
          </a:xfrm>
          <a:prstGeom prst="rect">
            <a:avLst/>
          </a:prstGeom>
          <a:solidFill>
            <a:srgbClr val="C365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027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599723" y="2468894"/>
            <a:ext cx="8592277" cy="1920213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Rectangle 5"/>
          <p:cNvSpPr/>
          <p:nvPr userDrawn="1"/>
        </p:nvSpPr>
        <p:spPr>
          <a:xfrm>
            <a:off x="1" y="0"/>
            <a:ext cx="2159561" cy="6858000"/>
          </a:xfrm>
          <a:prstGeom prst="rect">
            <a:avLst/>
          </a:prstGeom>
          <a:gradFill>
            <a:gsLst>
              <a:gs pos="42000">
                <a:srgbClr val="F6F6F6">
                  <a:lumMod val="97000"/>
                </a:srgbClr>
              </a:gs>
              <a:gs pos="0">
                <a:schemeClr val="bg1">
                  <a:lumMod val="92000"/>
                </a:schemeClr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9" name="Straight Arrow Connector 8"/>
          <p:cNvCxnSpPr/>
          <p:nvPr userDrawn="1"/>
        </p:nvCxnSpPr>
        <p:spPr>
          <a:xfrm>
            <a:off x="948995" y="6602899"/>
            <a:ext cx="11243005" cy="0"/>
          </a:xfrm>
          <a:prstGeom prst="straightConnector1">
            <a:avLst/>
          </a:prstGeom>
          <a:ln w="12700">
            <a:solidFill>
              <a:srgbClr val="BC303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175787" y="2977903"/>
            <a:ext cx="7296811" cy="53330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 baseline="0">
                <a:solidFill>
                  <a:schemeClr val="bg1"/>
                </a:solidFill>
                <a:effectLst/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SECTION BREAK</a:t>
            </a:r>
            <a:endParaRPr lang="ko-KR" altLang="en-US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175787" y="3578447"/>
            <a:ext cx="7296811" cy="263475"/>
          </a:xfrm>
          <a:prstGeom prst="rect">
            <a:avLst/>
          </a:prstGeom>
        </p:spPr>
        <p:txBody>
          <a:bodyPr lIns="108000" anchor="ctr"/>
          <a:lstStyle>
            <a:lvl1pPr marL="0" indent="0" algn="l">
              <a:buNone/>
              <a:defRPr sz="1600" baseline="0">
                <a:solidFill>
                  <a:schemeClr val="bg1"/>
                </a:solidFill>
                <a:effectLst/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Add text</a:t>
            </a:r>
            <a:endParaRPr lang="ko-KR" altLang="en-US"/>
          </a:p>
        </p:txBody>
      </p:sp>
      <p:cxnSp>
        <p:nvCxnSpPr>
          <p:cNvPr id="13" name="Straight Arrow Connector 12"/>
          <p:cNvCxnSpPr/>
          <p:nvPr userDrawn="1"/>
        </p:nvCxnSpPr>
        <p:spPr>
          <a:xfrm>
            <a:off x="1" y="260648"/>
            <a:ext cx="12191999" cy="0"/>
          </a:xfrm>
          <a:prstGeom prst="straightConnector1">
            <a:avLst/>
          </a:prstGeom>
          <a:ln w="12700">
            <a:solidFill>
              <a:srgbClr val="BC303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extLst>
              <a:ext uri="{FF2B5EF4-FFF2-40B4-BE49-F238E27FC236}">
                <a16:creationId xmlns:a16="http://schemas.microsoft.com/office/drawing/2014/main" id="{DF6A07B8-0F4C-CC37-4B21-6751ABE08FE1}"/>
              </a:ext>
            </a:extLst>
          </p:cNvPr>
          <p:cNvSpPr/>
          <p:nvPr userDrawn="1"/>
        </p:nvSpPr>
        <p:spPr>
          <a:xfrm>
            <a:off x="-829994" y="267286"/>
            <a:ext cx="365760" cy="309489"/>
          </a:xfrm>
          <a:prstGeom prst="rect">
            <a:avLst/>
          </a:prstGeom>
          <a:solidFill>
            <a:srgbClr val="BC30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A931CBB-8E0F-0A73-61E8-7867A79F8A50}"/>
              </a:ext>
            </a:extLst>
          </p:cNvPr>
          <p:cNvSpPr/>
          <p:nvPr userDrawn="1"/>
        </p:nvSpPr>
        <p:spPr>
          <a:xfrm>
            <a:off x="-829994" y="717452"/>
            <a:ext cx="365760" cy="309489"/>
          </a:xfrm>
          <a:prstGeom prst="rect">
            <a:avLst/>
          </a:prstGeom>
          <a:solidFill>
            <a:srgbClr val="CC23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4159D69-FAD6-CD08-326E-E40CFFB26E78}"/>
              </a:ext>
            </a:extLst>
          </p:cNvPr>
          <p:cNvSpPr/>
          <p:nvPr userDrawn="1"/>
        </p:nvSpPr>
        <p:spPr>
          <a:xfrm>
            <a:off x="-829994" y="1167618"/>
            <a:ext cx="365760" cy="309489"/>
          </a:xfrm>
          <a:prstGeom prst="rect">
            <a:avLst/>
          </a:prstGeom>
          <a:solidFill>
            <a:srgbClr val="CF85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6341DC4E-5FB5-BFCC-EB86-FBCF9196F9A1}"/>
              </a:ext>
            </a:extLst>
          </p:cNvPr>
          <p:cNvSpPr/>
          <p:nvPr userDrawn="1"/>
        </p:nvSpPr>
        <p:spPr>
          <a:xfrm>
            <a:off x="-829994" y="1617784"/>
            <a:ext cx="365760" cy="309489"/>
          </a:xfrm>
          <a:prstGeom prst="rect">
            <a:avLst/>
          </a:prstGeom>
          <a:solidFill>
            <a:srgbClr val="E61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B0EFD811-ABDE-FEED-CDB5-6654150B157E}"/>
              </a:ext>
            </a:extLst>
          </p:cNvPr>
          <p:cNvSpPr/>
          <p:nvPr userDrawn="1"/>
        </p:nvSpPr>
        <p:spPr>
          <a:xfrm>
            <a:off x="-829994" y="2067950"/>
            <a:ext cx="365760" cy="309489"/>
          </a:xfrm>
          <a:prstGeom prst="rect">
            <a:avLst/>
          </a:prstGeom>
          <a:solidFill>
            <a:srgbClr val="F752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2B3B4B5-8D36-FA4C-AE08-8E607D713E55}"/>
              </a:ext>
            </a:extLst>
          </p:cNvPr>
          <p:cNvSpPr/>
          <p:nvPr userDrawn="1"/>
        </p:nvSpPr>
        <p:spPr>
          <a:xfrm>
            <a:off x="-829994" y="2518116"/>
            <a:ext cx="365760" cy="309489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A9BBDEAF-98A9-6670-499D-D7CC335BFBE6}"/>
              </a:ext>
            </a:extLst>
          </p:cNvPr>
          <p:cNvSpPr/>
          <p:nvPr userDrawn="1"/>
        </p:nvSpPr>
        <p:spPr>
          <a:xfrm>
            <a:off x="-829994" y="2968282"/>
            <a:ext cx="365760" cy="309489"/>
          </a:xfrm>
          <a:prstGeom prst="rect">
            <a:avLst/>
          </a:prstGeom>
          <a:solidFill>
            <a:srgbClr val="FF00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D520272C-07AE-6D7D-8671-FFA279837FD9}"/>
              </a:ext>
            </a:extLst>
          </p:cNvPr>
          <p:cNvSpPr/>
          <p:nvPr userDrawn="1"/>
        </p:nvSpPr>
        <p:spPr>
          <a:xfrm>
            <a:off x="-829994" y="3429000"/>
            <a:ext cx="365760" cy="309489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áfico 16">
            <a:extLst>
              <a:ext uri="{FF2B5EF4-FFF2-40B4-BE49-F238E27FC236}">
                <a16:creationId xmlns:a16="http://schemas.microsoft.com/office/drawing/2014/main" id="{EA5D28AF-244A-C9CB-4677-DA6282B6DE7E}"/>
              </a:ext>
            </a:extLst>
          </p:cNvPr>
          <p:cNvGrpSpPr/>
          <p:nvPr/>
        </p:nvGrpSpPr>
        <p:grpSpPr>
          <a:xfrm>
            <a:off x="668258" y="6083458"/>
            <a:ext cx="561473" cy="562020"/>
            <a:chOff x="763754" y="6309699"/>
            <a:chExt cx="332287" cy="332287"/>
          </a:xfrm>
          <a:solidFill>
            <a:srgbClr val="BC303C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372C5843-6924-6398-3373-3AE5A0A5689C}"/>
                </a:ext>
              </a:extLst>
            </p:cNvPr>
            <p:cNvSpPr/>
            <p:nvPr/>
          </p:nvSpPr>
          <p:spPr>
            <a:xfrm>
              <a:off x="763754" y="6309699"/>
              <a:ext cx="332287" cy="332287"/>
            </a:xfrm>
            <a:custGeom>
              <a:avLst/>
              <a:gdLst>
                <a:gd name="connsiteX0" fmla="*/ 165978 w 332287"/>
                <a:gd name="connsiteY0" fmla="*/ 0 h 332287"/>
                <a:gd name="connsiteX1" fmla="*/ 0 w 332287"/>
                <a:gd name="connsiteY1" fmla="*/ 165978 h 332287"/>
                <a:gd name="connsiteX2" fmla="*/ 165978 w 332287"/>
                <a:gd name="connsiteY2" fmla="*/ 332287 h 332287"/>
                <a:gd name="connsiteX3" fmla="*/ 332287 w 332287"/>
                <a:gd name="connsiteY3" fmla="*/ 165978 h 332287"/>
                <a:gd name="connsiteX4" fmla="*/ 165978 w 332287"/>
                <a:gd name="connsiteY4" fmla="*/ 0 h 332287"/>
                <a:gd name="connsiteX5" fmla="*/ 279401 w 332287"/>
                <a:gd name="connsiteY5" fmla="*/ 244478 h 332287"/>
                <a:gd name="connsiteX6" fmla="*/ 165978 w 332287"/>
                <a:gd name="connsiteY6" fmla="*/ 249466 h 332287"/>
                <a:gd name="connsiteX7" fmla="*/ 52220 w 332287"/>
                <a:gd name="connsiteY7" fmla="*/ 244478 h 332287"/>
                <a:gd name="connsiteX8" fmla="*/ 35254 w 332287"/>
                <a:gd name="connsiteY8" fmla="*/ 229841 h 332287"/>
                <a:gd name="connsiteX9" fmla="*/ 33261 w 332287"/>
                <a:gd name="connsiteY9" fmla="*/ 165978 h 332287"/>
                <a:gd name="connsiteX10" fmla="*/ 35254 w 332287"/>
                <a:gd name="connsiteY10" fmla="*/ 102446 h 332287"/>
                <a:gd name="connsiteX11" fmla="*/ 52220 w 332287"/>
                <a:gd name="connsiteY11" fmla="*/ 87809 h 332287"/>
                <a:gd name="connsiteX12" fmla="*/ 165974 w 332287"/>
                <a:gd name="connsiteY12" fmla="*/ 82821 h 332287"/>
                <a:gd name="connsiteX13" fmla="*/ 279397 w 332287"/>
                <a:gd name="connsiteY13" fmla="*/ 87809 h 332287"/>
                <a:gd name="connsiteX14" fmla="*/ 296693 w 332287"/>
                <a:gd name="connsiteY14" fmla="*/ 102442 h 332287"/>
                <a:gd name="connsiteX15" fmla="*/ 298356 w 332287"/>
                <a:gd name="connsiteY15" fmla="*/ 165974 h 332287"/>
                <a:gd name="connsiteX16" fmla="*/ 296693 w 332287"/>
                <a:gd name="connsiteY16" fmla="*/ 229836 h 332287"/>
                <a:gd name="connsiteX17" fmla="*/ 279397 w 332287"/>
                <a:gd name="connsiteY17" fmla="*/ 244469 h 332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32287" h="332287">
                  <a:moveTo>
                    <a:pt x="165978" y="0"/>
                  </a:moveTo>
                  <a:cubicBezTo>
                    <a:pt x="74509" y="0"/>
                    <a:pt x="0" y="74509"/>
                    <a:pt x="0" y="165978"/>
                  </a:cubicBezTo>
                  <a:cubicBezTo>
                    <a:pt x="0" y="257783"/>
                    <a:pt x="74509" y="332287"/>
                    <a:pt x="165978" y="332287"/>
                  </a:cubicBezTo>
                  <a:cubicBezTo>
                    <a:pt x="257448" y="332287"/>
                    <a:pt x="332287" y="257779"/>
                    <a:pt x="332287" y="165978"/>
                  </a:cubicBezTo>
                  <a:cubicBezTo>
                    <a:pt x="332287" y="74509"/>
                    <a:pt x="257448" y="0"/>
                    <a:pt x="165978" y="0"/>
                  </a:cubicBezTo>
                  <a:close/>
                  <a:moveTo>
                    <a:pt x="279401" y="244478"/>
                  </a:moveTo>
                  <a:cubicBezTo>
                    <a:pt x="243146" y="248469"/>
                    <a:pt x="203896" y="249466"/>
                    <a:pt x="165978" y="249466"/>
                  </a:cubicBezTo>
                  <a:cubicBezTo>
                    <a:pt x="128060" y="249466"/>
                    <a:pt x="88810" y="248469"/>
                    <a:pt x="52220" y="244478"/>
                  </a:cubicBezTo>
                  <a:cubicBezTo>
                    <a:pt x="41909" y="243481"/>
                    <a:pt x="36586" y="240818"/>
                    <a:pt x="35254" y="229841"/>
                  </a:cubicBezTo>
                  <a:cubicBezTo>
                    <a:pt x="33261" y="208884"/>
                    <a:pt x="33261" y="187596"/>
                    <a:pt x="33261" y="165978"/>
                  </a:cubicBezTo>
                  <a:cubicBezTo>
                    <a:pt x="33261" y="144691"/>
                    <a:pt x="33261" y="123403"/>
                    <a:pt x="35254" y="102446"/>
                  </a:cubicBezTo>
                  <a:cubicBezTo>
                    <a:pt x="36586" y="91470"/>
                    <a:pt x="41904" y="88811"/>
                    <a:pt x="52220" y="87809"/>
                  </a:cubicBezTo>
                  <a:cubicBezTo>
                    <a:pt x="88806" y="83818"/>
                    <a:pt x="128056" y="82821"/>
                    <a:pt x="165974" y="82821"/>
                  </a:cubicBezTo>
                  <a:cubicBezTo>
                    <a:pt x="203891" y="82821"/>
                    <a:pt x="243141" y="83818"/>
                    <a:pt x="279397" y="87809"/>
                  </a:cubicBezTo>
                  <a:cubicBezTo>
                    <a:pt x="290043" y="88806"/>
                    <a:pt x="295361" y="91470"/>
                    <a:pt x="296693" y="102442"/>
                  </a:cubicBezTo>
                  <a:cubicBezTo>
                    <a:pt x="298356" y="123399"/>
                    <a:pt x="298356" y="144686"/>
                    <a:pt x="298356" y="165974"/>
                  </a:cubicBezTo>
                  <a:cubicBezTo>
                    <a:pt x="298356" y="187592"/>
                    <a:pt x="298356" y="208879"/>
                    <a:pt x="296693" y="229836"/>
                  </a:cubicBezTo>
                  <a:cubicBezTo>
                    <a:pt x="295361" y="240813"/>
                    <a:pt x="290043" y="243472"/>
                    <a:pt x="279397" y="244469"/>
                  </a:cubicBezTo>
                  <a:close/>
                </a:path>
              </a:pathLst>
            </a:custGeom>
            <a:solidFill>
              <a:srgbClr val="BC303C"/>
            </a:solidFill>
            <a:ln w="4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262184F3-ECF0-84A8-4A81-C43DDEA6563D}"/>
                </a:ext>
              </a:extLst>
            </p:cNvPr>
            <p:cNvSpPr/>
            <p:nvPr/>
          </p:nvSpPr>
          <p:spPr>
            <a:xfrm>
              <a:off x="862539" y="6408489"/>
              <a:ext cx="134375" cy="134710"/>
            </a:xfrm>
            <a:custGeom>
              <a:avLst/>
              <a:gdLst>
                <a:gd name="connsiteX0" fmla="*/ 0 w 134375"/>
                <a:gd name="connsiteY0" fmla="*/ 67188 h 134710"/>
                <a:gd name="connsiteX1" fmla="*/ 67188 w 134375"/>
                <a:gd name="connsiteY1" fmla="*/ 0 h 134710"/>
                <a:gd name="connsiteX2" fmla="*/ 134375 w 134375"/>
                <a:gd name="connsiteY2" fmla="*/ 67188 h 134710"/>
                <a:gd name="connsiteX3" fmla="*/ 67188 w 134375"/>
                <a:gd name="connsiteY3" fmla="*/ 134711 h 134710"/>
                <a:gd name="connsiteX4" fmla="*/ 0 w 134375"/>
                <a:gd name="connsiteY4" fmla="*/ 67188 h 1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75" h="134710">
                  <a:moveTo>
                    <a:pt x="0" y="67188"/>
                  </a:moveTo>
                  <a:cubicBezTo>
                    <a:pt x="0" y="30602"/>
                    <a:pt x="29270" y="0"/>
                    <a:pt x="67188" y="0"/>
                  </a:cubicBezTo>
                  <a:cubicBezTo>
                    <a:pt x="105106" y="0"/>
                    <a:pt x="134375" y="30602"/>
                    <a:pt x="134375" y="67188"/>
                  </a:cubicBezTo>
                  <a:cubicBezTo>
                    <a:pt x="134375" y="104109"/>
                    <a:pt x="105106" y="134711"/>
                    <a:pt x="67188" y="134711"/>
                  </a:cubicBezTo>
                  <a:cubicBezTo>
                    <a:pt x="29270" y="134711"/>
                    <a:pt x="0" y="104109"/>
                    <a:pt x="0" y="67188"/>
                  </a:cubicBezTo>
                  <a:close/>
                </a:path>
              </a:pathLst>
            </a:custGeom>
            <a:solidFill>
              <a:srgbClr val="BC303C"/>
            </a:solidFill>
            <a:ln w="4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20538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60"/>
            <a:ext cx="322609" cy="313309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ítulo do doc">
            <a:extLst>
              <a:ext uri="{FF2B5EF4-FFF2-40B4-BE49-F238E27FC236}">
                <a16:creationId xmlns:a16="http://schemas.microsoft.com/office/drawing/2014/main" id="{3EB5D49C-326D-1041-9929-74650D21DFA8}"/>
              </a:ext>
            </a:extLst>
          </p:cNvPr>
          <p:cNvSpPr txBox="1">
            <a:spLocks noGrp="1"/>
          </p:cNvSpPr>
          <p:nvPr>
            <p:ph type="body" sz="half" idx="14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219169">
              <a:spcBef>
                <a:spcPts val="0"/>
              </a:spcBef>
              <a:buSz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</a:lstStyle>
          <a:p>
            <a:r>
              <a:rPr err="1"/>
              <a:t>título</a:t>
            </a:r>
            <a:r>
              <a:t> do do</a:t>
            </a:r>
            <a:r>
              <a:rPr lang="pt-BR" err="1"/>
              <a:t>c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37057327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E1CD0F0-C157-4A74-85C5-3764950204CE}"/>
              </a:ext>
            </a:extLst>
          </p:cNvPr>
          <p:cNvSpPr/>
          <p:nvPr userDrawn="1"/>
        </p:nvSpPr>
        <p:spPr>
          <a:xfrm>
            <a:off x="0" y="0"/>
            <a:ext cx="12191999" cy="25522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4A88E2B-8914-4A51-93D1-53EE236F8DAE}"/>
              </a:ext>
            </a:extLst>
          </p:cNvPr>
          <p:cNvGrpSpPr/>
          <p:nvPr userDrawn="1"/>
        </p:nvGrpSpPr>
        <p:grpSpPr>
          <a:xfrm>
            <a:off x="1" y="2543120"/>
            <a:ext cx="12192000" cy="92498"/>
            <a:chOff x="11445923" y="0"/>
            <a:chExt cx="1119115" cy="255228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13FC2A0-2C8C-454E-A2FC-805728A75C98}"/>
                </a:ext>
              </a:extLst>
            </p:cNvPr>
            <p:cNvSpPr/>
            <p:nvPr/>
          </p:nvSpPr>
          <p:spPr>
            <a:xfrm>
              <a:off x="11818961" y="0"/>
              <a:ext cx="373038" cy="255228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690C1EE-6A6F-42D3-83B8-026B5166B341}"/>
                </a:ext>
              </a:extLst>
            </p:cNvPr>
            <p:cNvSpPr/>
            <p:nvPr/>
          </p:nvSpPr>
          <p:spPr>
            <a:xfrm>
              <a:off x="11445923" y="0"/>
              <a:ext cx="373038" cy="255228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AAFA40F-A963-4E4B-8411-ED8116D801AE}"/>
                </a:ext>
              </a:extLst>
            </p:cNvPr>
            <p:cNvSpPr/>
            <p:nvPr/>
          </p:nvSpPr>
          <p:spPr>
            <a:xfrm>
              <a:off x="12192000" y="0"/>
              <a:ext cx="373038" cy="2552282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F457DA5-8BD8-4BD1-ABAC-1702790078A5}"/>
              </a:ext>
            </a:extLst>
          </p:cNvPr>
          <p:cNvGrpSpPr/>
          <p:nvPr userDrawn="1"/>
        </p:nvGrpSpPr>
        <p:grpSpPr>
          <a:xfrm>
            <a:off x="11126530" y="59960"/>
            <a:ext cx="983575" cy="1226175"/>
            <a:chOff x="8411919" y="701065"/>
            <a:chExt cx="2800065" cy="349070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5DD6D29-DDE2-45C1-A138-CADB303F7C9F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FDC7CD9-2180-42AE-8704-20DBF67B10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D0A05A7-05C3-49E0-9D7D-F545E41AF2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7A9F57B-F0AC-4B12-9AF5-A2D627622BC2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285139-F2C4-446A-B33F-24C8A0E0D2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5932DE-97EB-4356-AB7E-C15C95618C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91D568-C449-4AA9-82B1-5329497816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58F475E-0095-4F26-BB26-022930977535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5EFA47E-8BD9-48B8-8713-E45FE90BC0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6E6CA7-B7F3-4621-A76D-BA617AA32ED8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74EE110-4344-4F52-A647-018872E82CB7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8D380D3-EEA7-40C1-B43D-07CD1E39FD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8724384-2A2C-43ED-8941-9540034BD8C4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F0ACFEA-6181-41EB-8BED-A51527F7C0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11BAF15-78AF-4795-B4FC-753D1EF9E0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050C95F-629C-490C-8BAC-78DABCD855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5A19A85-9EC7-455C-8DD6-187CB92EDEE4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7240E26-80CD-41EC-B8BB-D59466F37C2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DC3978A-C5FA-42C9-8D7B-F6438BA6096E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4388F42-C696-4539-BD00-F21F87F844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148E84D-1A6D-4271-8A0A-660F1B15D1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2B5DA5F-B400-4F36-B83F-421F789314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44EE669-9E4C-4CA7-A3A7-33BC296CAA71}"/>
              </a:ext>
            </a:extLst>
          </p:cNvPr>
          <p:cNvGrpSpPr/>
          <p:nvPr userDrawn="1"/>
        </p:nvGrpSpPr>
        <p:grpSpPr>
          <a:xfrm rot="15730005">
            <a:off x="10036530" y="262594"/>
            <a:ext cx="983575" cy="1226175"/>
            <a:chOff x="8411919" y="701065"/>
            <a:chExt cx="2800065" cy="3490702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EC4FCD0-D80E-4BDE-A5CD-8F0BC7673FD2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CA6BF7A-2F64-4D37-A80A-A731FAAE69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7D40FFE-6973-4966-BE8A-2C8BFC6DED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8D0628B-4C25-405C-B92F-967A2F552D5E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55B7347-0448-457F-8A6E-209E78A221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1F3020F-2980-43D8-A6E1-A1C268398A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62F092F-EF39-4548-B871-05F5F502CC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36979FA-828A-48D4-9C8B-6F50EEDAC5A3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50A29C4-0BDC-4C57-A752-FBD4848DD6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195D661-139C-43DA-B191-64D4E3EB6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A0B6320-BEEA-4ED4-886F-54835A7A8DCB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F0C052C-0C49-45D2-95B4-EB71C53035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8C62899-030E-4CD7-8551-E8FB609D8372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753D3BE-5268-47BB-88DC-D80B006144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E2C63B3-FEBC-4E81-A83F-442EFD970C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09839260-DA6B-4278-8342-339E9D7EEA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A9196E6-7FB0-4C52-A592-204D37882FDF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4F56BBE9-7A54-44FD-8960-0A51776C14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7F9F36F4-C91F-4046-832E-002EF0AE5503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7280801-44E2-40E6-9915-0A3ADC2636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43EA181D-8A90-4729-8E01-BAB32AE981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9547D6E-9ECC-481E-83BB-010BB8DA42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17AD10F-453A-4E8D-AD1B-4B24EAEAFAD1}"/>
              </a:ext>
            </a:extLst>
          </p:cNvPr>
          <p:cNvGrpSpPr/>
          <p:nvPr userDrawn="1"/>
        </p:nvGrpSpPr>
        <p:grpSpPr>
          <a:xfrm rot="6889181">
            <a:off x="10412956" y="1601928"/>
            <a:ext cx="796471" cy="992922"/>
            <a:chOff x="8411919" y="701065"/>
            <a:chExt cx="2800065" cy="3490702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FDD64DF2-DC03-4DA2-8ECD-92414187EC81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6570102-6A32-4B3B-906D-BD8943799E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C6062CC-F21A-41D5-B8B5-545A842812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B52F408-DC70-476B-A49E-0EC9DCC8A68E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A5B904B-857F-43D9-88E8-9889A777C5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EBCEDAA-E03D-4863-BBCD-A3499AB578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4D46D37-1080-4754-9469-9332FD8D44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525EE8BE-F561-4363-B07C-2A8568C849D8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CDEA6CE-6883-439C-90F3-B682651821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39EBADE-0038-4448-AE69-7A30F68146A9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C478AC4-0F9A-4B28-B8AE-A5C3FC191FD9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64C4057-53E5-4332-A8BC-0476466B17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6E5EB65-4860-47A3-A636-1D5B4086EBE5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8726D1F-8E94-41C4-91B4-FE73F6CA4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C5EE4BC-D4F2-4506-A3BC-1F49233209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FA371812-5AE7-41A7-8354-03341B0DD5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3B530347-4200-441B-ABAD-B145DCE83342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DE61C81E-2924-483B-81DE-205FCB7A44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D324DC81-1E85-4D25-9885-81ACFF8EF9CE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F3CC859-CABB-414D-A81B-30AF7FDC40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C5B7264-49F4-4210-9CA1-CF355D0959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FED197B-9A2F-4634-9DE3-0062A5B452D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A6F875E-26AF-47EC-80DA-4A202F58A299}"/>
              </a:ext>
            </a:extLst>
          </p:cNvPr>
          <p:cNvGrpSpPr/>
          <p:nvPr userDrawn="1"/>
        </p:nvGrpSpPr>
        <p:grpSpPr>
          <a:xfrm rot="20334324">
            <a:off x="11027040" y="751132"/>
            <a:ext cx="1164960" cy="1452298"/>
            <a:chOff x="8411919" y="701065"/>
            <a:chExt cx="2800065" cy="3490702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677BA5B5-C758-4877-800C-0C7E4D9CEBE4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A83A37C0-EC73-49DF-8FB5-5ECE4448FD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1BA5729-6339-4F12-87C6-59FE607335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12BFEE7-A77F-4E6A-9E50-307AEE0A93E3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402FDBD-1882-4637-A220-48C025A195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1BB18570-115A-4B82-B5E8-DEFEE35E3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B3A398FB-C068-4429-A23D-89DBCBB6FF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2B571856-F9E7-4ED8-B06C-57DFF6B9CC0F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FA8CAEB4-E5DC-46B5-B31F-0CEF968450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1937CDF-54A0-4EB9-87AA-3A6F53380AA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EEC0EDC4-79A2-48AC-9C2F-EC89AA5AF409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2C7274A9-AD57-4BC8-9D3E-4444CD75C0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CE58877-41A8-426A-A97C-C7E929F3EBE6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DEBC82F-0A62-4539-9DAC-1F7078C43F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A5A7A4C-C4AC-4031-8AE8-3C1D0B91DF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3F73277-134F-4896-A41B-6121A44641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84486BE-FF72-4400-AED7-FC2F51FF896E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7E4E1DC-4629-41E4-881E-039F4A4E34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EBF3104-364F-4626-A5B8-05B4D1ADCA6A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EA45D2F-F00F-4129-99E1-0B7C1B4A45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96CA710A-0CE7-4CEF-B09B-27A332D959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CF51995-51FB-475E-94CD-AEE40B2178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B0D5CCF4-AEE8-4235-B77C-72150C7B86A8}"/>
              </a:ext>
            </a:extLst>
          </p:cNvPr>
          <p:cNvGrpSpPr/>
          <p:nvPr userDrawn="1"/>
        </p:nvGrpSpPr>
        <p:grpSpPr>
          <a:xfrm rot="20334324">
            <a:off x="9037156" y="71664"/>
            <a:ext cx="753407" cy="737354"/>
            <a:chOff x="8411919" y="701065"/>
            <a:chExt cx="2800065" cy="3490702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666712C-D9DC-4E1B-B224-EE2C1109D35C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63352840-ABD4-47EF-ADD9-AA88424C9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9F6F136-D82F-4732-9A09-51877B3006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357C639-5D19-43DF-9527-8D32F5DC8C97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69BA665B-04B0-4300-9EB4-1CFFE3ED45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EF1951ED-ABFB-4722-9F63-B0B27E2C29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364E12DE-0E57-4B8F-A49C-688E0958E9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E4BC377-B444-49A0-A473-E947787673A9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6B46601-4F83-4893-8A97-6736B822C1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67EEF4EC-D9C6-4972-9B35-88DF77520A96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E2B4C8D5-FD70-44AE-8137-B0A8F4ACCEA6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EE403C5D-66B6-4B98-9623-F82EEB8A97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521883D-899C-437B-9424-C11E887F4C76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11EE4CB0-E6F1-4616-8CFD-ABC0841896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FD622344-682A-45AB-BDAC-D83955B30D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E3F36C3A-AAA2-43EC-A1CA-D5CCDC6E35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AD7E67AE-8D68-43B6-A73E-4A33D1A25236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A0A232-916A-46A2-A7C1-987C26163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978AD056-AB72-4926-86BA-E77C4E1712FA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7189B293-9518-480B-92F2-B3FD6AE4D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39E57236-C826-4A70-BF3F-87A183C24D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28F2DAEF-A763-4480-9B9B-5510A70DD6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74C772B-1928-4597-8A34-F77909439262}"/>
              </a:ext>
            </a:extLst>
          </p:cNvPr>
          <p:cNvGrpSpPr/>
          <p:nvPr userDrawn="1"/>
        </p:nvGrpSpPr>
        <p:grpSpPr>
          <a:xfrm rot="19421998">
            <a:off x="9748081" y="1384230"/>
            <a:ext cx="717208" cy="701926"/>
            <a:chOff x="8411919" y="701065"/>
            <a:chExt cx="2800065" cy="3490702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7089472D-6102-4681-8E55-2C5794EE4E05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45D7A623-A535-43CF-9E20-EB48163EBA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4DDAD5E-B095-422F-B6CD-672CE6F954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68204260-9189-46EB-869A-E95AE4088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B13CB03-7EDD-43E9-A3EE-08A70D250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424ACA07-2AC8-4301-AF7A-F872F5BCB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E9DDC0C-BE86-40AC-BA9D-02E3CE7A15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04D754C4-75A5-4238-AA8C-BB7B243E7233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1819C5E5-16FB-4BD7-ABFF-2AFB5E55E9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4C7A9859-4815-4EA4-8F65-F968C9FC849F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7B13CD7-AC6F-456F-9E2D-A202EA93C04D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F2B697B7-B1AF-408B-A9B5-014F75EB3E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AFF57946-E60E-4726-9F65-63637C96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7CB79018-A974-42C3-9327-9EE494BBBC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A027431D-F6A9-4475-92D1-2C456BFCEC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B510266C-E548-470A-8A98-08A02F3E2E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37175B15-68E2-4A5E-9813-8991CCF80A48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A100DAD-AFB1-40DB-ADE7-B83F5DD8967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620490C3-05EB-4F8F-B133-39AC8E8CA87F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B64D449B-2D2F-4B3F-8257-1F8D0DD919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C287B58-6106-4047-BAA2-C3406DDB25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9B63D3A8-33D6-4BC7-8CC9-857AAE669D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17F06A6F-6318-483E-B452-C88B27C43350}"/>
              </a:ext>
            </a:extLst>
          </p:cNvPr>
          <p:cNvGrpSpPr/>
          <p:nvPr userDrawn="1"/>
        </p:nvGrpSpPr>
        <p:grpSpPr>
          <a:xfrm rot="19421998">
            <a:off x="9244413" y="1325575"/>
            <a:ext cx="458379" cy="448611"/>
            <a:chOff x="8411919" y="701065"/>
            <a:chExt cx="2800065" cy="3490702"/>
          </a:xfrm>
        </p:grpSpPr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E91CD7AF-1692-4440-B8BA-E670A60CBCCA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1356FF31-B953-4F4E-B596-E60EA148FE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C49752A-D43C-45B6-993D-EA5E0844C9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B753FBDD-B18B-409C-A47A-F97D2E3F5EF6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61749067-1D7E-4678-B43D-843D42744B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BB90CE84-57B1-4386-B44F-156E4FFC61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15B6C08B-4B3D-4F15-9BA5-AB40A1E1F8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BC1DF333-9292-43D8-96FF-D38D03FC80C0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DC4CB3EA-34E0-4265-818A-640BBCAED2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885D7418-DA23-4D62-ADDA-A33D8629D46F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7DA01C98-3668-44DC-BD8A-21C1F9B9CC2B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77874D64-B6D5-4B26-9D31-C32312A1FD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67A0BDD8-5F2F-4871-AC80-15065F48B7B4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4FF47B-975B-495B-AFA7-626EA3CB0B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9979DDAC-383E-484D-AD43-6040954E5D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5E20253B-FE44-45FD-9073-793A2ACD30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4A967840-EB8D-4A8D-9023-BA05C472301C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5BFA0587-ECDE-4476-B6DA-8C1636CCCB8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9332D652-2851-49FA-9380-17419EF0B2E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0AB93698-E5DF-418F-84ED-95993EFBD6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7253BEA4-85D6-4559-8CD4-CD651FA044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33186F57-FF32-469C-8E8F-0D5A121C0D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39A1B71-4BFB-417F-8ADF-A50673257A72}"/>
              </a:ext>
            </a:extLst>
          </p:cNvPr>
          <p:cNvGrpSpPr/>
          <p:nvPr userDrawn="1"/>
        </p:nvGrpSpPr>
        <p:grpSpPr>
          <a:xfrm rot="19421998">
            <a:off x="10765083" y="43767"/>
            <a:ext cx="412730" cy="403935"/>
            <a:chOff x="8411919" y="701065"/>
            <a:chExt cx="2800065" cy="3490702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F5970A27-55A6-4D07-8C70-C55D06337EBD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E83ABF58-61A0-409C-A57E-EA1E39EFB7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A072E919-222D-4E11-9FBF-4092D8A0EA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669C07E-C483-453C-AAEC-C3FBEDB040FD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344DE8EA-742F-48A6-BEBC-F6781301ED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6CB3F9E-2089-4472-92AB-7C98031C0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70B846A2-CA79-4A17-A686-E022D57453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719E7FB7-9E8D-44B6-8718-865071D50168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1D0C8432-AFF4-4746-83E6-40A3AD7EBA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E4C7F024-C3FD-44DA-B543-9D4C33842F0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11DFA92C-51B2-4F6C-AE96-147198D89D7A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1F9FB3DC-4DAF-4AAE-9F4C-EFB7B0B94E6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9FEA2574-D8E8-4BE5-9DEF-F08B7AF24C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DC142A40-9738-4197-9048-6E3CE2822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DA05D9C8-371D-4CB4-967D-A728CB6DE2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9EB1DF40-1EA3-479A-8E44-C460A09111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9194C8E4-D8F1-4623-8319-FC3C7547D1E9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2521ABC-062E-4457-999D-4BC3DE953E8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994EDE13-F833-42D7-A127-BB45FBFCB58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76DD19A0-42AC-4680-A070-B7D26A7ECB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823B065-A184-4DE8-A2E9-BD9454771D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06A0FAEF-9B32-47C8-BD6B-48A2993CE3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C54488B-4AA8-4A29-9071-60D6AF00DA6E}"/>
              </a:ext>
            </a:extLst>
          </p:cNvPr>
          <p:cNvSpPr/>
          <p:nvPr userDrawn="1"/>
        </p:nvSpPr>
        <p:spPr>
          <a:xfrm>
            <a:off x="11445923" y="0"/>
            <a:ext cx="373038" cy="255228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AA5F804-B564-42DA-88D6-915FE7EFD1E7}"/>
              </a:ext>
            </a:extLst>
          </p:cNvPr>
          <p:cNvSpPr/>
          <p:nvPr userDrawn="1"/>
        </p:nvSpPr>
        <p:spPr>
          <a:xfrm>
            <a:off x="11818961" y="0"/>
            <a:ext cx="373038" cy="255228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4879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197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01912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23274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54582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0322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1641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9089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1312358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0706" y="395209"/>
            <a:ext cx="11617291" cy="2908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58527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33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628466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34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6398405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56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9168343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4403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60"/>
            <a:ext cx="322609" cy="313309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departamento">
            <a:extLst>
              <a:ext uri="{FF2B5EF4-FFF2-40B4-BE49-F238E27FC236}">
                <a16:creationId xmlns:a16="http://schemas.microsoft.com/office/drawing/2014/main" id="{833C21B8-3CD5-AC47-8164-40A9DDA55945}"/>
              </a:ext>
            </a:extLst>
          </p:cNvPr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1268666" y="132668"/>
            <a:ext cx="1123834" cy="26545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219169">
              <a:spcBef>
                <a:spcPts val="0"/>
              </a:spcBef>
              <a:buSzTx/>
              <a:buNone/>
              <a:defRPr sz="1250">
                <a:solidFill>
                  <a:srgbClr val="FFFFFF"/>
                </a:solidFill>
                <a:latin typeface="Globotipo Rounded" panose="02000500000000000000" pitchFamily="2" charset="77"/>
                <a:ea typeface="Globotipo Rounded" panose="02000500000000000000" pitchFamily="2" charset="77"/>
                <a:cs typeface="Globotipo Rounded" panose="02000500000000000000" pitchFamily="2" charset="77"/>
                <a:sym typeface="Helvetica"/>
              </a:defRPr>
            </a:lvl1pPr>
          </a:lstStyle>
          <a:p>
            <a:r>
              <a:rPr err="1"/>
              <a:t>departament</a:t>
            </a:r>
            <a:r>
              <a:rPr lang="pt-BR"/>
              <a:t>o</a:t>
            </a:r>
            <a:endParaRPr/>
          </a:p>
        </p:txBody>
      </p:sp>
      <p:sp>
        <p:nvSpPr>
          <p:cNvPr id="10" name="título do doc">
            <a:extLst>
              <a:ext uri="{FF2B5EF4-FFF2-40B4-BE49-F238E27FC236}">
                <a16:creationId xmlns:a16="http://schemas.microsoft.com/office/drawing/2014/main" id="{3EB5D49C-326D-1041-9929-74650D21DFA8}"/>
              </a:ext>
            </a:extLst>
          </p:cNvPr>
          <p:cNvSpPr txBox="1">
            <a:spLocks noGrp="1"/>
          </p:cNvSpPr>
          <p:nvPr>
            <p:ph type="body" sz="half" idx="14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219169">
              <a:spcBef>
                <a:spcPts val="0"/>
              </a:spcBef>
              <a:buSz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</a:lstStyle>
          <a:p>
            <a:r>
              <a:rPr err="1"/>
              <a:t>título</a:t>
            </a:r>
            <a:r>
              <a:t> do do</a:t>
            </a:r>
            <a:r>
              <a:rPr lang="pt-BR" err="1"/>
              <a:t>c</a:t>
            </a:r>
            <a:endParaRPr/>
          </a:p>
        </p:txBody>
      </p:sp>
      <p:sp>
        <p:nvSpPr>
          <p:cNvPr id="11" name="maio/2020">
            <a:extLst>
              <a:ext uri="{FF2B5EF4-FFF2-40B4-BE49-F238E27FC236}">
                <a16:creationId xmlns:a16="http://schemas.microsoft.com/office/drawing/2014/main" id="{8521FA78-2E3A-004D-8206-07BAE8EACAB2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10968341" y="132668"/>
            <a:ext cx="901209" cy="26545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219169">
              <a:spcBef>
                <a:spcPts val="0"/>
              </a:spcBef>
              <a:buSzTx/>
              <a:buNone/>
              <a:defRPr sz="125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1pPr>
          </a:lstStyle>
          <a:p>
            <a:r>
              <a:rPr err="1"/>
              <a:t>maio</a:t>
            </a:r>
            <a:r>
              <a:t>/202</a:t>
            </a:r>
            <a:r>
              <a:rPr lang="pt-BR"/>
              <a:t>0</a:t>
            </a:r>
            <a:endParaRPr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CB164EB-0BC5-7545-A45C-F9602E06DA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4185" y="3529349"/>
            <a:ext cx="1402415" cy="1331824"/>
          </a:xfrm>
        </p:spPr>
        <p:txBody>
          <a:bodyPr/>
          <a:lstStyle>
            <a:lvl1pPr marL="0" indent="0" defTabSz="1219169">
              <a:spcBef>
                <a:spcPts val="0"/>
              </a:spcBef>
              <a:buSzTx/>
              <a:buNone/>
              <a:defRPr sz="4000">
                <a:solidFill>
                  <a:srgbClr val="FFFFFF"/>
                </a:solidFill>
                <a:latin typeface="Globotipo Rounded Light"/>
                <a:sym typeface="Globotipo Rounded Ligh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marL="0" indent="0" defTabSz="2438338">
              <a:spcBef>
                <a:spcPts val="0"/>
              </a:spcBef>
              <a:buSzTx/>
              <a:buNone/>
              <a:defRPr sz="4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pPr>
            <a:r>
              <a:rPr lang="en-US" err="1"/>
              <a:t>Escreva</a:t>
            </a:r>
            <a:r>
              <a:rPr lang="en-US"/>
              <a:t> </a:t>
            </a:r>
            <a:r>
              <a:rPr lang="en-US" err="1"/>
              <a:t>aqui</a:t>
            </a:r>
            <a:r>
              <a:rPr lang="en-US"/>
              <a:t> </a:t>
            </a:r>
            <a:r>
              <a:rPr lang="en-US" err="1"/>
              <a:t>seu</a:t>
            </a:r>
            <a:r>
              <a:rPr lang="en-US"/>
              <a:t> </a:t>
            </a:r>
            <a:r>
              <a:rPr lang="en-US" err="1"/>
              <a:t>Subtítu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2980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 autoUpdateAnimBg="0">
        <p:tmplLst>
          <p:tmpl>
            <p:tnLst>
              <p:par>
                <p:cTn presetID="2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uiExpand="1" build="p" autoUpdateAnimBg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S LAYOUT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그림 개체 틀 2"/>
          <p:cNvSpPr>
            <a:spLocks noGrp="1"/>
          </p:cNvSpPr>
          <p:nvPr>
            <p:ph type="pic" sz="quarter" idx="46" hasCustomPrompt="1"/>
          </p:nvPr>
        </p:nvSpPr>
        <p:spPr>
          <a:xfrm>
            <a:off x="729574" y="1515298"/>
            <a:ext cx="3300639" cy="478017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12" name="그림 개체 틀 2"/>
          <p:cNvSpPr>
            <a:spLocks noGrp="1"/>
          </p:cNvSpPr>
          <p:nvPr>
            <p:ph type="pic" sz="quarter" idx="58" hasCustomPrompt="1"/>
          </p:nvPr>
        </p:nvSpPr>
        <p:spPr>
          <a:xfrm>
            <a:off x="8212091" y="1515298"/>
            <a:ext cx="3300639" cy="478017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AE1361B6-8316-4AC7-8C5C-5371D9A5B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017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/>
              <a:t>BASIC LAYOUT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3369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8728767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9926464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자유형: 도형 20">
            <a:extLst>
              <a:ext uri="{FF2B5EF4-FFF2-40B4-BE49-F238E27FC236}">
                <a16:creationId xmlns:a16="http://schemas.microsoft.com/office/drawing/2014/main" id="{A1DEFAEA-9F02-4B9F-ACC6-353AF6C3EFF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55574" y="296099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2" name="자유형: 도형 21">
            <a:extLst>
              <a:ext uri="{FF2B5EF4-FFF2-40B4-BE49-F238E27FC236}">
                <a16:creationId xmlns:a16="http://schemas.microsoft.com/office/drawing/2014/main" id="{03515A44-D3E9-44BA-B3D4-43ECDBD515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55574" y="2891254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5CED0A4D-1B43-4F94-A1B2-796349C976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51710" y="2891254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0" name="자유형: 도형 19">
            <a:extLst>
              <a:ext uri="{FF2B5EF4-FFF2-40B4-BE49-F238E27FC236}">
                <a16:creationId xmlns:a16="http://schemas.microsoft.com/office/drawing/2014/main" id="{1D5AFB38-0AC4-4043-A23A-C86F3145AE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51710" y="296099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09475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그림 개체 틀 23">
            <a:extLst>
              <a:ext uri="{FF2B5EF4-FFF2-40B4-BE49-F238E27FC236}">
                <a16:creationId xmlns:a16="http://schemas.microsoft.com/office/drawing/2014/main" id="{ADD85E6C-2694-4BB6-B396-E6F812C019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" y="3255649"/>
            <a:ext cx="11904055" cy="3602353"/>
          </a:xfrm>
          <a:custGeom>
            <a:avLst/>
            <a:gdLst>
              <a:gd name="connsiteX0" fmla="*/ 11582341 w 11904055"/>
              <a:gd name="connsiteY0" fmla="*/ 2503750 h 3602353"/>
              <a:gd name="connsiteX1" fmla="*/ 11769730 w 11904055"/>
              <a:gd name="connsiteY1" fmla="*/ 2573468 h 3602353"/>
              <a:gd name="connsiteX2" fmla="*/ 11833752 w 11904055"/>
              <a:gd name="connsiteY2" fmla="*/ 3052873 h 3602353"/>
              <a:gd name="connsiteX3" fmla="*/ 11413744 w 11904055"/>
              <a:gd name="connsiteY3" fmla="*/ 3602352 h 3602353"/>
              <a:gd name="connsiteX4" fmla="*/ 10552808 w 11904055"/>
              <a:gd name="connsiteY4" fmla="*/ 3602352 h 3602353"/>
              <a:gd name="connsiteX5" fmla="*/ 11290325 w 11904055"/>
              <a:gd name="connsiteY5" fmla="*/ 2637490 h 3602353"/>
              <a:gd name="connsiteX6" fmla="*/ 11582341 w 11904055"/>
              <a:gd name="connsiteY6" fmla="*/ 2503750 h 3602353"/>
              <a:gd name="connsiteX7" fmla="*/ 10782012 w 11904055"/>
              <a:gd name="connsiteY7" fmla="*/ 2174396 h 3602353"/>
              <a:gd name="connsiteX8" fmla="*/ 10969399 w 11904055"/>
              <a:gd name="connsiteY8" fmla="*/ 2244113 h 3602353"/>
              <a:gd name="connsiteX9" fmla="*/ 11033422 w 11904055"/>
              <a:gd name="connsiteY9" fmla="*/ 2723518 h 3602353"/>
              <a:gd name="connsiteX10" fmla="*/ 10361662 w 11904055"/>
              <a:gd name="connsiteY10" fmla="*/ 3602352 h 3602353"/>
              <a:gd name="connsiteX11" fmla="*/ 9500727 w 11904055"/>
              <a:gd name="connsiteY11" fmla="*/ 3602352 h 3602353"/>
              <a:gd name="connsiteX12" fmla="*/ 10489995 w 11904055"/>
              <a:gd name="connsiteY12" fmla="*/ 2308135 h 3602353"/>
              <a:gd name="connsiteX13" fmla="*/ 10782012 w 11904055"/>
              <a:gd name="connsiteY13" fmla="*/ 2174396 h 3602353"/>
              <a:gd name="connsiteX14" fmla="*/ 1691966 w 11904055"/>
              <a:gd name="connsiteY14" fmla="*/ 1637118 h 3602353"/>
              <a:gd name="connsiteX15" fmla="*/ 1879354 w 11904055"/>
              <a:gd name="connsiteY15" fmla="*/ 1706836 h 3602353"/>
              <a:gd name="connsiteX16" fmla="*/ 1943376 w 11904055"/>
              <a:gd name="connsiteY16" fmla="*/ 2186241 h 3602353"/>
              <a:gd name="connsiteX17" fmla="*/ 860935 w 11904055"/>
              <a:gd name="connsiteY17" fmla="*/ 3602352 h 3602353"/>
              <a:gd name="connsiteX18" fmla="*/ 0 w 11904055"/>
              <a:gd name="connsiteY18" fmla="*/ 3602352 h 3602353"/>
              <a:gd name="connsiteX19" fmla="*/ 0 w 11904055"/>
              <a:gd name="connsiteY19" fmla="*/ 3602351 h 3602353"/>
              <a:gd name="connsiteX20" fmla="*/ 1399949 w 11904055"/>
              <a:gd name="connsiteY20" fmla="*/ 1770858 h 3602353"/>
              <a:gd name="connsiteX21" fmla="*/ 1691966 w 11904055"/>
              <a:gd name="connsiteY21" fmla="*/ 1637118 h 3602353"/>
              <a:gd name="connsiteX22" fmla="*/ 8108140 w 11904055"/>
              <a:gd name="connsiteY22" fmla="*/ 1412767 h 3602353"/>
              <a:gd name="connsiteX23" fmla="*/ 8295528 w 11904055"/>
              <a:gd name="connsiteY23" fmla="*/ 1482484 h 3602353"/>
              <a:gd name="connsiteX24" fmla="*/ 8359550 w 11904055"/>
              <a:gd name="connsiteY24" fmla="*/ 1961890 h 3602353"/>
              <a:gd name="connsiteX25" fmla="*/ 7105620 w 11904055"/>
              <a:gd name="connsiteY25" fmla="*/ 3602352 h 3602353"/>
              <a:gd name="connsiteX26" fmla="*/ 6244685 w 11904055"/>
              <a:gd name="connsiteY26" fmla="*/ 3602352 h 3602353"/>
              <a:gd name="connsiteX27" fmla="*/ 7816123 w 11904055"/>
              <a:gd name="connsiteY27" fmla="*/ 1546506 h 3602353"/>
              <a:gd name="connsiteX28" fmla="*/ 8108140 w 11904055"/>
              <a:gd name="connsiteY28" fmla="*/ 1412767 h 3602353"/>
              <a:gd name="connsiteX29" fmla="*/ 9385014 w 11904055"/>
              <a:gd name="connsiteY29" fmla="*/ 1161427 h 3602353"/>
              <a:gd name="connsiteX30" fmla="*/ 9572402 w 11904055"/>
              <a:gd name="connsiteY30" fmla="*/ 1231145 h 3602353"/>
              <a:gd name="connsiteX31" fmla="*/ 9636423 w 11904055"/>
              <a:gd name="connsiteY31" fmla="*/ 1710549 h 3602353"/>
              <a:gd name="connsiteX32" fmla="*/ 8190375 w 11904055"/>
              <a:gd name="connsiteY32" fmla="*/ 3602352 h 3602353"/>
              <a:gd name="connsiteX33" fmla="*/ 7329441 w 11904055"/>
              <a:gd name="connsiteY33" fmla="*/ 3602352 h 3602353"/>
              <a:gd name="connsiteX34" fmla="*/ 9092997 w 11904055"/>
              <a:gd name="connsiteY34" fmla="*/ 1295167 h 3602353"/>
              <a:gd name="connsiteX35" fmla="*/ 9385014 w 11904055"/>
              <a:gd name="connsiteY35" fmla="*/ 1161427 h 3602353"/>
              <a:gd name="connsiteX36" fmla="*/ 3104652 w 11904055"/>
              <a:gd name="connsiteY36" fmla="*/ 1140248 h 3602353"/>
              <a:gd name="connsiteX37" fmla="*/ 3292040 w 11904055"/>
              <a:gd name="connsiteY37" fmla="*/ 1209966 h 3602353"/>
              <a:gd name="connsiteX38" fmla="*/ 3356063 w 11904055"/>
              <a:gd name="connsiteY38" fmla="*/ 1689371 h 3602353"/>
              <a:gd name="connsiteX39" fmla="*/ 1893826 w 11904055"/>
              <a:gd name="connsiteY39" fmla="*/ 3602352 h 3602353"/>
              <a:gd name="connsiteX40" fmla="*/ 1032889 w 11904055"/>
              <a:gd name="connsiteY40" fmla="*/ 3602352 h 3602353"/>
              <a:gd name="connsiteX41" fmla="*/ 2812635 w 11904055"/>
              <a:gd name="connsiteY41" fmla="*/ 1273988 h 3602353"/>
              <a:gd name="connsiteX42" fmla="*/ 3104652 w 11904055"/>
              <a:gd name="connsiteY42" fmla="*/ 1140248 h 3602353"/>
              <a:gd name="connsiteX43" fmla="*/ 10527184 w 11904055"/>
              <a:gd name="connsiteY43" fmla="*/ 1087492 h 3602353"/>
              <a:gd name="connsiteX44" fmla="*/ 10714572 w 11904055"/>
              <a:gd name="connsiteY44" fmla="*/ 1157209 h 3602353"/>
              <a:gd name="connsiteX45" fmla="*/ 10778593 w 11904055"/>
              <a:gd name="connsiteY45" fmla="*/ 1636614 h 3602353"/>
              <a:gd name="connsiteX46" fmla="*/ 9276031 w 11904055"/>
              <a:gd name="connsiteY46" fmla="*/ 3602352 h 3602353"/>
              <a:gd name="connsiteX47" fmla="*/ 8415095 w 11904055"/>
              <a:gd name="connsiteY47" fmla="*/ 3602352 h 3602353"/>
              <a:gd name="connsiteX48" fmla="*/ 10235167 w 11904055"/>
              <a:gd name="connsiteY48" fmla="*/ 1221231 h 3602353"/>
              <a:gd name="connsiteX49" fmla="*/ 10527184 w 11904055"/>
              <a:gd name="connsiteY49" fmla="*/ 1087492 h 3602353"/>
              <a:gd name="connsiteX50" fmla="*/ 4425492 w 11904055"/>
              <a:gd name="connsiteY50" fmla="*/ 821528 h 3602353"/>
              <a:gd name="connsiteX51" fmla="*/ 4612880 w 11904055"/>
              <a:gd name="connsiteY51" fmla="*/ 891246 h 3602353"/>
              <a:gd name="connsiteX52" fmla="*/ 4676903 w 11904055"/>
              <a:gd name="connsiteY52" fmla="*/ 1370650 h 3602353"/>
              <a:gd name="connsiteX53" fmla="*/ 2971045 w 11904055"/>
              <a:gd name="connsiteY53" fmla="*/ 3602352 h 3602353"/>
              <a:gd name="connsiteX54" fmla="*/ 2228075 w 11904055"/>
              <a:gd name="connsiteY54" fmla="*/ 3602352 h 3602353"/>
              <a:gd name="connsiteX55" fmla="*/ 2235176 w 11904055"/>
              <a:gd name="connsiteY55" fmla="*/ 3482988 h 3602353"/>
              <a:gd name="connsiteX56" fmla="*/ 2294666 w 11904055"/>
              <a:gd name="connsiteY56" fmla="*/ 3360904 h 3602353"/>
              <a:gd name="connsiteX57" fmla="*/ 4133476 w 11904055"/>
              <a:gd name="connsiteY57" fmla="*/ 955268 h 3602353"/>
              <a:gd name="connsiteX58" fmla="*/ 4425492 w 11904055"/>
              <a:gd name="connsiteY58" fmla="*/ 821528 h 3602353"/>
              <a:gd name="connsiteX59" fmla="*/ 5787281 w 11904055"/>
              <a:gd name="connsiteY59" fmla="*/ 372647 h 3602353"/>
              <a:gd name="connsiteX60" fmla="*/ 5974669 w 11904055"/>
              <a:gd name="connsiteY60" fmla="*/ 442365 h 3602353"/>
              <a:gd name="connsiteX61" fmla="*/ 6038692 w 11904055"/>
              <a:gd name="connsiteY61" fmla="*/ 921770 h 3602353"/>
              <a:gd name="connsiteX62" fmla="*/ 3989720 w 11904055"/>
              <a:gd name="connsiteY62" fmla="*/ 3602352 h 3602353"/>
              <a:gd name="connsiteX63" fmla="*/ 3227852 w 11904055"/>
              <a:gd name="connsiteY63" fmla="*/ 3602353 h 3602353"/>
              <a:gd name="connsiteX64" fmla="*/ 3233358 w 11904055"/>
              <a:gd name="connsiteY64" fmla="*/ 3509800 h 3602353"/>
              <a:gd name="connsiteX65" fmla="*/ 3292848 w 11904055"/>
              <a:gd name="connsiteY65" fmla="*/ 3387715 h 3602353"/>
              <a:gd name="connsiteX66" fmla="*/ 5495264 w 11904055"/>
              <a:gd name="connsiteY66" fmla="*/ 506388 h 3602353"/>
              <a:gd name="connsiteX67" fmla="*/ 5787281 w 11904055"/>
              <a:gd name="connsiteY67" fmla="*/ 372647 h 3602353"/>
              <a:gd name="connsiteX68" fmla="*/ 6896315 w 11904055"/>
              <a:gd name="connsiteY68" fmla="*/ 289347 h 3602353"/>
              <a:gd name="connsiteX69" fmla="*/ 7083704 w 11904055"/>
              <a:gd name="connsiteY69" fmla="*/ 359064 h 3602353"/>
              <a:gd name="connsiteX70" fmla="*/ 7147725 w 11904055"/>
              <a:gd name="connsiteY70" fmla="*/ 838469 h 3602353"/>
              <a:gd name="connsiteX71" fmla="*/ 5035081 w 11904055"/>
              <a:gd name="connsiteY71" fmla="*/ 3602353 h 3602353"/>
              <a:gd name="connsiteX72" fmla="*/ 4174147 w 11904055"/>
              <a:gd name="connsiteY72" fmla="*/ 3602352 h 3602353"/>
              <a:gd name="connsiteX73" fmla="*/ 6604298 w 11904055"/>
              <a:gd name="connsiteY73" fmla="*/ 423088 h 3602353"/>
              <a:gd name="connsiteX74" fmla="*/ 6896315 w 11904055"/>
              <a:gd name="connsiteY74" fmla="*/ 289347 h 3602353"/>
              <a:gd name="connsiteX75" fmla="*/ 8134781 w 11904055"/>
              <a:gd name="connsiteY75" fmla="*/ 587 h 3602353"/>
              <a:gd name="connsiteX76" fmla="*/ 8322169 w 11904055"/>
              <a:gd name="connsiteY76" fmla="*/ 70304 h 3602353"/>
              <a:gd name="connsiteX77" fmla="*/ 8386192 w 11904055"/>
              <a:gd name="connsiteY77" fmla="*/ 549710 h 3602353"/>
              <a:gd name="connsiteX78" fmla="*/ 6052827 w 11904055"/>
              <a:gd name="connsiteY78" fmla="*/ 3602352 h 3602353"/>
              <a:gd name="connsiteX79" fmla="*/ 5191892 w 11904055"/>
              <a:gd name="connsiteY79" fmla="*/ 3602352 h 3602353"/>
              <a:gd name="connsiteX80" fmla="*/ 7842765 w 11904055"/>
              <a:gd name="connsiteY80" fmla="*/ 134328 h 3602353"/>
              <a:gd name="connsiteX81" fmla="*/ 8134781 w 11904055"/>
              <a:gd name="connsiteY81" fmla="*/ 587 h 3602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11904055" h="3602353">
                <a:moveTo>
                  <a:pt x="11582341" y="2503750"/>
                </a:moveTo>
                <a:cubicBezTo>
                  <a:pt x="11648102" y="2507602"/>
                  <a:pt x="11713456" y="2530454"/>
                  <a:pt x="11769730" y="2573468"/>
                </a:cubicBezTo>
                <a:cubicBezTo>
                  <a:pt x="11919793" y="2688173"/>
                  <a:pt x="11948456" y="2902810"/>
                  <a:pt x="11833752" y="3052873"/>
                </a:cubicBezTo>
                <a:lnTo>
                  <a:pt x="11413744" y="3602352"/>
                </a:lnTo>
                <a:lnTo>
                  <a:pt x="10552808" y="3602352"/>
                </a:lnTo>
                <a:lnTo>
                  <a:pt x="11290325" y="2637490"/>
                </a:lnTo>
                <a:cubicBezTo>
                  <a:pt x="11362015" y="2543701"/>
                  <a:pt x="11472742" y="2497333"/>
                  <a:pt x="11582341" y="2503750"/>
                </a:cubicBezTo>
                <a:close/>
                <a:moveTo>
                  <a:pt x="10782012" y="2174396"/>
                </a:moveTo>
                <a:cubicBezTo>
                  <a:pt x="10847772" y="2178246"/>
                  <a:pt x="10913126" y="2201099"/>
                  <a:pt x="10969399" y="2244113"/>
                </a:cubicBezTo>
                <a:cubicBezTo>
                  <a:pt x="11119462" y="2358818"/>
                  <a:pt x="11148126" y="2573455"/>
                  <a:pt x="11033422" y="2723518"/>
                </a:cubicBezTo>
                <a:lnTo>
                  <a:pt x="10361662" y="3602352"/>
                </a:lnTo>
                <a:lnTo>
                  <a:pt x="9500727" y="3602352"/>
                </a:lnTo>
                <a:lnTo>
                  <a:pt x="10489995" y="2308135"/>
                </a:lnTo>
                <a:cubicBezTo>
                  <a:pt x="10561685" y="2214346"/>
                  <a:pt x="10672411" y="2167978"/>
                  <a:pt x="10782012" y="2174396"/>
                </a:cubicBezTo>
                <a:close/>
                <a:moveTo>
                  <a:pt x="1691966" y="1637118"/>
                </a:moveTo>
                <a:cubicBezTo>
                  <a:pt x="1757726" y="1640968"/>
                  <a:pt x="1823080" y="1663822"/>
                  <a:pt x="1879354" y="1706836"/>
                </a:cubicBezTo>
                <a:cubicBezTo>
                  <a:pt x="2029417" y="1821540"/>
                  <a:pt x="2058080" y="2036178"/>
                  <a:pt x="1943376" y="2186241"/>
                </a:cubicBezTo>
                <a:lnTo>
                  <a:pt x="860935" y="3602352"/>
                </a:lnTo>
                <a:lnTo>
                  <a:pt x="0" y="3602352"/>
                </a:lnTo>
                <a:lnTo>
                  <a:pt x="0" y="3602351"/>
                </a:lnTo>
                <a:lnTo>
                  <a:pt x="1399949" y="1770858"/>
                </a:lnTo>
                <a:cubicBezTo>
                  <a:pt x="1471639" y="1677069"/>
                  <a:pt x="1582366" y="1630701"/>
                  <a:pt x="1691966" y="1637118"/>
                </a:cubicBezTo>
                <a:close/>
                <a:moveTo>
                  <a:pt x="8108140" y="1412767"/>
                </a:moveTo>
                <a:cubicBezTo>
                  <a:pt x="8173900" y="1416618"/>
                  <a:pt x="8239254" y="1439471"/>
                  <a:pt x="8295528" y="1482484"/>
                </a:cubicBezTo>
                <a:cubicBezTo>
                  <a:pt x="8445591" y="1597188"/>
                  <a:pt x="8474254" y="1811827"/>
                  <a:pt x="8359550" y="1961890"/>
                </a:cubicBezTo>
                <a:lnTo>
                  <a:pt x="7105620" y="3602352"/>
                </a:lnTo>
                <a:lnTo>
                  <a:pt x="6244685" y="3602352"/>
                </a:lnTo>
                <a:lnTo>
                  <a:pt x="7816123" y="1546506"/>
                </a:lnTo>
                <a:cubicBezTo>
                  <a:pt x="7887814" y="1452716"/>
                  <a:pt x="7998540" y="1406349"/>
                  <a:pt x="8108140" y="1412767"/>
                </a:cubicBezTo>
                <a:close/>
                <a:moveTo>
                  <a:pt x="9385014" y="1161427"/>
                </a:moveTo>
                <a:cubicBezTo>
                  <a:pt x="9450774" y="1165277"/>
                  <a:pt x="9516128" y="1188130"/>
                  <a:pt x="9572402" y="1231145"/>
                </a:cubicBezTo>
                <a:cubicBezTo>
                  <a:pt x="9722465" y="1345849"/>
                  <a:pt x="9751129" y="1560486"/>
                  <a:pt x="9636423" y="1710549"/>
                </a:cubicBezTo>
                <a:lnTo>
                  <a:pt x="8190375" y="3602352"/>
                </a:lnTo>
                <a:lnTo>
                  <a:pt x="7329441" y="3602352"/>
                </a:lnTo>
                <a:lnTo>
                  <a:pt x="9092997" y="1295167"/>
                </a:lnTo>
                <a:cubicBezTo>
                  <a:pt x="9164687" y="1201377"/>
                  <a:pt x="9275414" y="1155009"/>
                  <a:pt x="9385014" y="1161427"/>
                </a:cubicBezTo>
                <a:close/>
                <a:moveTo>
                  <a:pt x="3104652" y="1140248"/>
                </a:moveTo>
                <a:cubicBezTo>
                  <a:pt x="3170412" y="1144098"/>
                  <a:pt x="3235766" y="1166952"/>
                  <a:pt x="3292040" y="1209966"/>
                </a:cubicBezTo>
                <a:cubicBezTo>
                  <a:pt x="3442103" y="1324671"/>
                  <a:pt x="3470767" y="1539308"/>
                  <a:pt x="3356063" y="1689371"/>
                </a:cubicBezTo>
                <a:lnTo>
                  <a:pt x="1893826" y="3602352"/>
                </a:lnTo>
                <a:lnTo>
                  <a:pt x="1032889" y="3602352"/>
                </a:lnTo>
                <a:lnTo>
                  <a:pt x="2812635" y="1273988"/>
                </a:lnTo>
                <a:cubicBezTo>
                  <a:pt x="2884326" y="1180199"/>
                  <a:pt x="2995052" y="1133831"/>
                  <a:pt x="3104652" y="1140248"/>
                </a:cubicBezTo>
                <a:close/>
                <a:moveTo>
                  <a:pt x="10527184" y="1087492"/>
                </a:moveTo>
                <a:cubicBezTo>
                  <a:pt x="10592944" y="1091342"/>
                  <a:pt x="10658298" y="1114195"/>
                  <a:pt x="10714572" y="1157209"/>
                </a:cubicBezTo>
                <a:cubicBezTo>
                  <a:pt x="10864635" y="1271913"/>
                  <a:pt x="10893299" y="1486551"/>
                  <a:pt x="10778593" y="1636614"/>
                </a:cubicBezTo>
                <a:lnTo>
                  <a:pt x="9276031" y="3602352"/>
                </a:lnTo>
                <a:lnTo>
                  <a:pt x="8415095" y="3602352"/>
                </a:lnTo>
                <a:lnTo>
                  <a:pt x="10235167" y="1221231"/>
                </a:lnTo>
                <a:cubicBezTo>
                  <a:pt x="10306857" y="1127442"/>
                  <a:pt x="10417583" y="1081074"/>
                  <a:pt x="10527184" y="1087492"/>
                </a:cubicBezTo>
                <a:close/>
                <a:moveTo>
                  <a:pt x="4425492" y="821528"/>
                </a:moveTo>
                <a:cubicBezTo>
                  <a:pt x="4491251" y="825379"/>
                  <a:pt x="4556607" y="848231"/>
                  <a:pt x="4612880" y="891246"/>
                </a:cubicBezTo>
                <a:cubicBezTo>
                  <a:pt x="4762943" y="1005950"/>
                  <a:pt x="4791607" y="1220588"/>
                  <a:pt x="4676903" y="1370650"/>
                </a:cubicBezTo>
                <a:lnTo>
                  <a:pt x="2971045" y="3602352"/>
                </a:lnTo>
                <a:lnTo>
                  <a:pt x="2228075" y="3602352"/>
                </a:lnTo>
                <a:lnTo>
                  <a:pt x="2235176" y="3482988"/>
                </a:lnTo>
                <a:cubicBezTo>
                  <a:pt x="2246274" y="3439971"/>
                  <a:pt x="2265990" y="3398420"/>
                  <a:pt x="2294666" y="3360904"/>
                </a:cubicBezTo>
                <a:lnTo>
                  <a:pt x="4133476" y="955268"/>
                </a:lnTo>
                <a:cubicBezTo>
                  <a:pt x="4205166" y="861479"/>
                  <a:pt x="4315892" y="815111"/>
                  <a:pt x="4425492" y="821528"/>
                </a:cubicBezTo>
                <a:close/>
                <a:moveTo>
                  <a:pt x="5787281" y="372647"/>
                </a:moveTo>
                <a:cubicBezTo>
                  <a:pt x="5853041" y="376498"/>
                  <a:pt x="5918396" y="399351"/>
                  <a:pt x="5974669" y="442365"/>
                </a:cubicBezTo>
                <a:cubicBezTo>
                  <a:pt x="6124732" y="557070"/>
                  <a:pt x="6153396" y="771707"/>
                  <a:pt x="6038692" y="921770"/>
                </a:cubicBezTo>
                <a:lnTo>
                  <a:pt x="3989720" y="3602352"/>
                </a:lnTo>
                <a:lnTo>
                  <a:pt x="3227852" y="3602353"/>
                </a:lnTo>
                <a:lnTo>
                  <a:pt x="3233358" y="3509800"/>
                </a:lnTo>
                <a:cubicBezTo>
                  <a:pt x="3244456" y="3466782"/>
                  <a:pt x="3264173" y="3425231"/>
                  <a:pt x="3292848" y="3387715"/>
                </a:cubicBezTo>
                <a:lnTo>
                  <a:pt x="5495264" y="506388"/>
                </a:lnTo>
                <a:cubicBezTo>
                  <a:pt x="5566956" y="412598"/>
                  <a:pt x="5677682" y="366230"/>
                  <a:pt x="5787281" y="372647"/>
                </a:cubicBezTo>
                <a:close/>
                <a:moveTo>
                  <a:pt x="6896315" y="289347"/>
                </a:moveTo>
                <a:cubicBezTo>
                  <a:pt x="6962075" y="293197"/>
                  <a:pt x="7027430" y="316050"/>
                  <a:pt x="7083704" y="359064"/>
                </a:cubicBezTo>
                <a:cubicBezTo>
                  <a:pt x="7233766" y="473768"/>
                  <a:pt x="7262430" y="688406"/>
                  <a:pt x="7147725" y="838469"/>
                </a:cubicBezTo>
                <a:lnTo>
                  <a:pt x="5035081" y="3602353"/>
                </a:lnTo>
                <a:lnTo>
                  <a:pt x="4174147" y="3602352"/>
                </a:lnTo>
                <a:lnTo>
                  <a:pt x="6604298" y="423088"/>
                </a:lnTo>
                <a:cubicBezTo>
                  <a:pt x="6675989" y="329298"/>
                  <a:pt x="6786715" y="282930"/>
                  <a:pt x="6896315" y="289347"/>
                </a:cubicBezTo>
                <a:close/>
                <a:moveTo>
                  <a:pt x="8134781" y="587"/>
                </a:moveTo>
                <a:cubicBezTo>
                  <a:pt x="8200542" y="4437"/>
                  <a:pt x="8265896" y="27291"/>
                  <a:pt x="8322169" y="70304"/>
                </a:cubicBezTo>
                <a:cubicBezTo>
                  <a:pt x="8472232" y="185009"/>
                  <a:pt x="8500896" y="399647"/>
                  <a:pt x="8386192" y="549710"/>
                </a:cubicBezTo>
                <a:lnTo>
                  <a:pt x="6052827" y="3602352"/>
                </a:lnTo>
                <a:lnTo>
                  <a:pt x="5191892" y="3602352"/>
                </a:lnTo>
                <a:lnTo>
                  <a:pt x="7842765" y="134328"/>
                </a:lnTo>
                <a:cubicBezTo>
                  <a:pt x="7914455" y="40538"/>
                  <a:pt x="8025182" y="-5830"/>
                  <a:pt x="8134781" y="5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66290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B09E0C86-9749-ED34-F834-F11D08516EF1}"/>
              </a:ext>
            </a:extLst>
          </p:cNvPr>
          <p:cNvSpPr/>
          <p:nvPr userDrawn="1"/>
        </p:nvSpPr>
        <p:spPr>
          <a:xfrm>
            <a:off x="0" y="-25499"/>
            <a:ext cx="12192000" cy="6908998"/>
          </a:xfrm>
          <a:prstGeom prst="rect">
            <a:avLst/>
          </a:prstGeom>
          <a:gradFill flip="none" rotWithShape="1">
            <a:gsLst>
              <a:gs pos="25000">
                <a:srgbClr val="CF3162">
                  <a:alpha val="80000"/>
                </a:srgbClr>
              </a:gs>
              <a:gs pos="61000">
                <a:srgbClr val="AD2851">
                  <a:alpha val="95000"/>
                </a:srgbClr>
              </a:gs>
              <a:gs pos="0">
                <a:srgbClr val="CF3162">
                  <a:alpha val="8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347298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4691ED-A13F-23F2-33A9-DA86791B8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F5C4C4-6B99-7CD6-D273-32E064FABB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D2C9B62-DD69-61D3-11A2-99CAE9166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9F5FA-9DF9-4F27-8CA7-D33107EEF30F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FE753F-31D8-CC3C-E5BC-A3E311A03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386C016-CFA3-CDAF-450D-0C0590087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C98698-6F3B-483B-81F3-BD21E04CED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85568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60"/>
            <a:ext cx="322609" cy="313309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ítulo do doc">
            <a:extLst>
              <a:ext uri="{FF2B5EF4-FFF2-40B4-BE49-F238E27FC236}">
                <a16:creationId xmlns:a16="http://schemas.microsoft.com/office/drawing/2014/main" id="{3EB5D49C-326D-1041-9929-74650D21DFA8}"/>
              </a:ext>
            </a:extLst>
          </p:cNvPr>
          <p:cNvSpPr txBox="1">
            <a:spLocks noGrp="1"/>
          </p:cNvSpPr>
          <p:nvPr>
            <p:ph type="body" sz="half" idx="14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219169">
              <a:spcBef>
                <a:spcPts val="0"/>
              </a:spcBef>
              <a:buSz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</a:lstStyle>
          <a:p>
            <a:r>
              <a:rPr err="1"/>
              <a:t>título</a:t>
            </a:r>
            <a:r>
              <a:t> do do</a:t>
            </a:r>
            <a:r>
              <a:rPr lang="pt-BR" err="1"/>
              <a:t>c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41516299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5E8BD036-1E0F-70D6-33C5-53DACEF9003C}"/>
              </a:ext>
            </a:extLst>
          </p:cNvPr>
          <p:cNvSpPr/>
          <p:nvPr userDrawn="1"/>
        </p:nvSpPr>
        <p:spPr>
          <a:xfrm>
            <a:off x="0" y="-25499"/>
            <a:ext cx="12200750" cy="6908998"/>
          </a:xfrm>
          <a:prstGeom prst="rect">
            <a:avLst/>
          </a:prstGeom>
          <a:gradFill flip="none" rotWithShape="1">
            <a:gsLst>
              <a:gs pos="60000">
                <a:srgbClr val="2C123E"/>
              </a:gs>
              <a:gs pos="30000">
                <a:srgbClr val="401B5B"/>
              </a:gs>
              <a:gs pos="0">
                <a:srgbClr val="7030A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67938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1759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8028FF">
                  <a:alpha val="90000"/>
                </a:srgbClr>
              </a:gs>
              <a:gs pos="74000">
                <a:srgbClr val="0031FF">
                  <a:alpha val="90000"/>
                </a:srgbClr>
              </a:gs>
              <a:gs pos="100000">
                <a:srgbClr val="00B8FF">
                  <a:alpha val="7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pic>
        <p:nvPicPr>
          <p:cNvPr id="5" name="Imagem 4" descr="Desenho de um círculo&#10;&#10;Descrição gerada automaticamente com confiança baixa">
            <a:extLst>
              <a:ext uri="{FF2B5EF4-FFF2-40B4-BE49-F238E27FC236}">
                <a16:creationId xmlns:a16="http://schemas.microsoft.com/office/drawing/2014/main" id="{A691AF97-83C0-8B62-AFF0-1F4315167C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1511" b="713"/>
          <a:stretch/>
        </p:blipFill>
        <p:spPr>
          <a:xfrm>
            <a:off x="11718674" y="134809"/>
            <a:ext cx="33247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275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33A"/>
          </a:solidFill>
          <a:ln>
            <a:solidFill>
              <a:srgbClr val="0203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756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58EC4431-054C-3DF0-F3A2-B5C62822B8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A500"/>
          </a:solidFill>
          <a:ln>
            <a:solidFill>
              <a:srgbClr val="FFA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913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01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078832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8975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9551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749466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 userDrawn="1">
  <p:cSld name="1_Título e conteúdo">
    <p:bg>
      <p:bgPr>
        <a:solidFill>
          <a:schemeClr val="bg1">
            <a:alpha val="5000"/>
          </a:schemeClr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861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o do Títul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12" name="Nível de Corpo Um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498530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ângulo 1"/>
          <p:cNvSpPr/>
          <p:nvPr/>
        </p:nvSpPr>
        <p:spPr>
          <a:xfrm>
            <a:off x="0" y="-25499"/>
            <a:ext cx="12200750" cy="6908997"/>
          </a:xfrm>
          <a:prstGeom prst="rect">
            <a:avLst/>
          </a:prstGeom>
          <a:gradFill>
            <a:gsLst>
              <a:gs pos="0">
                <a:srgbClr val="7030A0"/>
              </a:gs>
              <a:gs pos="30000">
                <a:srgbClr val="401B5B"/>
              </a:gs>
              <a:gs pos="60000">
                <a:srgbClr val="2C123E"/>
              </a:gs>
            </a:gsLst>
            <a:lin ang="189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4971077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 w="12700">
            <a:miter lim="400000"/>
          </a:ln>
          <a:effectLst>
            <a:outerShdw blurRad="292100" dist="139700" dir="2700000" rotWithShape="0">
              <a:srgbClr val="333333">
                <a:alpha val="64999"/>
              </a:srgbClr>
            </a:outerShdw>
          </a:effectLst>
        </p:spPr>
      </p:pic>
      <p:pic>
        <p:nvPicPr>
          <p:cNvPr id="29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59"/>
            <a:ext cx="322609" cy="313310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/>
          <a:lstStyle>
            <a:lvl1pPr marL="0" indent="0" defTabSz="1219168">
              <a:spcBef>
                <a:spcPts val="0"/>
              </a:spcBef>
              <a:buSzTx/>
              <a:buFont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  <a:lvl2pPr marL="1695450" indent="-123825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2pPr>
            <a:lvl3pPr marL="2400300" indent="-14859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3pPr>
            <a:lvl4pPr marL="3022600" indent="-16510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4pPr>
            <a:lvl5pPr marL="3479800" indent="-16510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5pPr>
          </a:lstStyle>
          <a:p>
            <a:r>
              <a:t>título do doc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271225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0000">
                <a:srgbClr val="011EAE">
                  <a:alpha val="90000"/>
                </a:srgbClr>
              </a:gs>
              <a:gs pos="34000">
                <a:srgbClr val="021072"/>
              </a:gs>
              <a:gs pos="12000">
                <a:srgbClr val="02033A"/>
              </a:gs>
              <a:gs pos="84000">
                <a:srgbClr val="0031FF">
                  <a:alpha val="90000"/>
                </a:srgbClr>
              </a:gs>
              <a:gs pos="100000">
                <a:srgbClr val="00B8F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pic>
        <p:nvPicPr>
          <p:cNvPr id="4" name="Imagem 3" descr="Desenho de um círculo&#10;&#10;Descrição gerada automaticamente com confiança baixa">
            <a:extLst>
              <a:ext uri="{FF2B5EF4-FFF2-40B4-BE49-F238E27FC236}">
                <a16:creationId xmlns:a16="http://schemas.microsoft.com/office/drawing/2014/main" id="{530C56C7-96C8-5BBB-0088-063EEFECC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1511" b="713"/>
          <a:stretch/>
        </p:blipFill>
        <p:spPr>
          <a:xfrm>
            <a:off x="11718674" y="134809"/>
            <a:ext cx="33247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4248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tângulo 1"/>
          <p:cNvSpPr/>
          <p:nvPr/>
        </p:nvSpPr>
        <p:spPr>
          <a:xfrm>
            <a:off x="0" y="-25499"/>
            <a:ext cx="12200750" cy="6908997"/>
          </a:xfrm>
          <a:prstGeom prst="rect">
            <a:avLst/>
          </a:prstGeom>
          <a:gradFill>
            <a:gsLst>
              <a:gs pos="0">
                <a:srgbClr val="7030A0"/>
              </a:gs>
              <a:gs pos="30000">
                <a:srgbClr val="401B5B"/>
              </a:gs>
              <a:gs pos="60000">
                <a:srgbClr val="2C123E"/>
              </a:gs>
            </a:gsLst>
            <a:lin ang="189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9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017339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5498514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tângulo 1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33A"/>
          </a:solidFill>
          <a:ln w="12700">
            <a:solidFill>
              <a:srgbClr val="02033A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614377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tângulo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A500"/>
          </a:solidFill>
          <a:ln w="12700">
            <a:solidFill>
              <a:srgbClr val="FFA500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0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7640292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7645106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exto do Título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>
            <a:lvl1pPr algn="ctr" defTabSz="412750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exto do Título</a:t>
            </a:r>
          </a:p>
        </p:txBody>
      </p:sp>
      <p:sp>
        <p:nvSpPr>
          <p:cNvPr id="85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8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992342" y="6540500"/>
            <a:ext cx="273609" cy="269240"/>
          </a:xfrm>
          <a:prstGeom prst="rect">
            <a:avLst/>
          </a:prstGeom>
        </p:spPr>
        <p:txBody>
          <a:bodyPr anchor="t"/>
          <a:lstStyle>
            <a:lvl1pPr defTabSz="412750">
              <a:defRPr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3926267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tângulo 3"/>
          <p:cNvSpPr/>
          <p:nvPr/>
        </p:nvSpPr>
        <p:spPr>
          <a:xfrm>
            <a:off x="-928915" y="-23550"/>
            <a:ext cx="667657" cy="667657"/>
          </a:xfrm>
          <a:prstGeom prst="rect">
            <a:avLst/>
          </a:prstGeom>
          <a:solidFill>
            <a:srgbClr val="02033A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4" name="Retângulo 5"/>
          <p:cNvSpPr/>
          <p:nvPr/>
        </p:nvSpPr>
        <p:spPr>
          <a:xfrm>
            <a:off x="-928915" y="752436"/>
            <a:ext cx="667657" cy="667657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5" name="Retângulo 6"/>
          <p:cNvSpPr/>
          <p:nvPr/>
        </p:nvSpPr>
        <p:spPr>
          <a:xfrm>
            <a:off x="-928915" y="1528422"/>
            <a:ext cx="667657" cy="667657"/>
          </a:xfrm>
          <a:prstGeom prst="rect">
            <a:avLst/>
          </a:prstGeom>
          <a:solidFill>
            <a:srgbClr val="77041D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6" name="Retângulo 7"/>
          <p:cNvSpPr/>
          <p:nvPr/>
        </p:nvSpPr>
        <p:spPr>
          <a:xfrm>
            <a:off x="-928915" y="2304407"/>
            <a:ext cx="667657" cy="667657"/>
          </a:xfrm>
          <a:prstGeom prst="rect">
            <a:avLst/>
          </a:prstGeom>
          <a:solidFill>
            <a:srgbClr val="CC013E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7" name="Retângulo 8"/>
          <p:cNvSpPr/>
          <p:nvPr/>
        </p:nvSpPr>
        <p:spPr>
          <a:xfrm>
            <a:off x="-928915" y="3080393"/>
            <a:ext cx="667657" cy="667657"/>
          </a:xfrm>
          <a:prstGeom prst="rect">
            <a:avLst/>
          </a:prstGeom>
          <a:solidFill>
            <a:srgbClr val="D80154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8" name="Retângulo 9"/>
          <p:cNvSpPr/>
          <p:nvPr/>
        </p:nvSpPr>
        <p:spPr>
          <a:xfrm>
            <a:off x="-928915" y="3856380"/>
            <a:ext cx="667657" cy="667657"/>
          </a:xfrm>
          <a:prstGeom prst="rect">
            <a:avLst/>
          </a:prstGeom>
          <a:solidFill>
            <a:srgbClr val="F4511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99" name="Retângulo 10"/>
          <p:cNvSpPr/>
          <p:nvPr/>
        </p:nvSpPr>
        <p:spPr>
          <a:xfrm>
            <a:off x="-928915" y="4632366"/>
            <a:ext cx="667657" cy="667657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100" name="Retângulo 11"/>
          <p:cNvSpPr/>
          <p:nvPr/>
        </p:nvSpPr>
        <p:spPr>
          <a:xfrm>
            <a:off x="-928915" y="5408350"/>
            <a:ext cx="667657" cy="667657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101" name="Retângulo 1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33A"/>
          </a:solidFill>
          <a:ln w="12700">
            <a:solidFill>
              <a:srgbClr val="02033A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pPr>
            <a:endParaRPr/>
          </a:p>
        </p:txBody>
      </p:sp>
      <p:sp>
        <p:nvSpPr>
          <p:cNvPr id="10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5298078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 w="12700">
            <a:miter lim="400000"/>
          </a:ln>
          <a:effectLst>
            <a:outerShdw blurRad="292100" dist="139700" dir="2700000" rotWithShape="0">
              <a:srgbClr val="333333">
                <a:alpha val="64999"/>
              </a:srgbClr>
            </a:outerShdw>
          </a:effectLst>
        </p:spPr>
      </p:pic>
      <p:pic>
        <p:nvPicPr>
          <p:cNvPr id="110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59"/>
            <a:ext cx="322609" cy="313310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/>
          <a:lstStyle>
            <a:lvl1pPr marL="0" indent="0" defTabSz="1219168">
              <a:spcBef>
                <a:spcPts val="0"/>
              </a:spcBef>
              <a:buSzTx/>
              <a:buFont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  <a:lvl2pPr marL="1695367" indent="-123819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2pPr>
            <a:lvl3pPr marL="2400181" indent="-1485828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3pPr>
            <a:lvl4pPr marL="3022451" indent="-165092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4pPr>
            <a:lvl5pPr marL="3479629" indent="-165092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5pPr>
          </a:lstStyle>
          <a:p>
            <a:r>
              <a:t>título do doc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518927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 w="12700">
            <a:miter lim="400000"/>
          </a:ln>
          <a:effectLst>
            <a:outerShdw blurRad="292100" dist="139700" dir="2700000" rotWithShape="0">
              <a:srgbClr val="333333">
                <a:alpha val="64999"/>
              </a:srgbClr>
            </a:outerShdw>
          </a:effectLst>
        </p:spPr>
      </p:pic>
      <p:pic>
        <p:nvPicPr>
          <p:cNvPr id="120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59"/>
            <a:ext cx="322609" cy="313310"/>
          </a:xfrm>
          <a:prstGeom prst="rect">
            <a:avLst/>
          </a:prstGeom>
          <a:ln w="12700">
            <a:miter lim="400000"/>
          </a:ln>
        </p:spPr>
      </p:pic>
      <p:sp>
        <p:nvSpPr>
          <p:cNvPr id="121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68665" y="132668"/>
            <a:ext cx="1123835" cy="265458"/>
          </a:xfrm>
          <a:prstGeom prst="rect">
            <a:avLst/>
          </a:prstGeom>
        </p:spPr>
        <p:txBody>
          <a:bodyPr/>
          <a:lstStyle>
            <a:lvl1pPr marL="0" indent="0" defTabSz="1219168">
              <a:spcBef>
                <a:spcPts val="0"/>
              </a:spcBef>
              <a:buSzTx/>
              <a:buFontTx/>
              <a:buNone/>
              <a:defRPr sz="120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1pPr>
            <a:lvl2pPr marL="571471" indent="-114294" defTabSz="1219168">
              <a:spcBef>
                <a:spcPts val="0"/>
              </a:spcBef>
              <a:buFontTx/>
              <a:defRPr sz="120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2pPr>
            <a:lvl3pPr marL="1051506" indent="-137153" defTabSz="1219168">
              <a:spcBef>
                <a:spcPts val="0"/>
              </a:spcBef>
              <a:buFontTx/>
              <a:defRPr sz="120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3pPr>
            <a:lvl4pPr marL="1523923" indent="-152392" defTabSz="1219168">
              <a:spcBef>
                <a:spcPts val="0"/>
              </a:spcBef>
              <a:buFontTx/>
              <a:defRPr sz="120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4pPr>
            <a:lvl5pPr marL="1981101" indent="-152392" defTabSz="1219168">
              <a:spcBef>
                <a:spcPts val="0"/>
              </a:spcBef>
              <a:buFontTx/>
              <a:defRPr sz="1200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5pPr>
          </a:lstStyle>
          <a:p>
            <a:r>
              <a:t>departamento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22" name="título do doc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60902" y="5052847"/>
            <a:ext cx="8786380" cy="1892825"/>
          </a:xfrm>
          <a:prstGeom prst="rect">
            <a:avLst/>
          </a:prstGeom>
        </p:spPr>
        <p:txBody>
          <a:bodyPr/>
          <a:lstStyle>
            <a:lvl1pPr marL="0" indent="0" defTabSz="950951">
              <a:spcBef>
                <a:spcPts val="0"/>
              </a:spcBef>
              <a:buSzTx/>
              <a:buFontTx/>
              <a:buNone/>
              <a:defRPr sz="10139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</a:lstStyle>
          <a:p>
            <a:r>
              <a:t>título do doc</a:t>
            </a:r>
          </a:p>
        </p:txBody>
      </p:sp>
      <p:sp>
        <p:nvSpPr>
          <p:cNvPr id="123" name="maio/2020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0968341" y="132668"/>
            <a:ext cx="901210" cy="265458"/>
          </a:xfrm>
          <a:prstGeom prst="rect">
            <a:avLst/>
          </a:prstGeom>
        </p:spPr>
        <p:txBody>
          <a:bodyPr/>
          <a:lstStyle>
            <a:lvl1pPr marL="0" indent="0" defTabSz="1060677">
              <a:spcBef>
                <a:spcPts val="0"/>
              </a:spcBef>
              <a:buSzTx/>
              <a:buFontTx/>
              <a:buNone/>
              <a:defRPr sz="1044">
                <a:solidFill>
                  <a:srgbClr val="FFFFFF"/>
                </a:solidFill>
                <a:latin typeface="Globotipo Rounded Regular"/>
                <a:ea typeface="Globotipo Rounded Regular"/>
                <a:cs typeface="Globotipo Rounded Regular"/>
                <a:sym typeface="Globotipo Rounded Regular"/>
              </a:defRPr>
            </a:lvl1pPr>
          </a:lstStyle>
          <a:p>
            <a:r>
              <a:t>maio/2020</a:t>
            </a:r>
          </a:p>
        </p:txBody>
      </p:sp>
      <p:sp>
        <p:nvSpPr>
          <p:cNvPr id="12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5579940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tangle 7"/>
          <p:cNvSpPr/>
          <p:nvPr/>
        </p:nvSpPr>
        <p:spPr>
          <a:xfrm>
            <a:off x="1" y="-1"/>
            <a:ext cx="12144672" cy="1152002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2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grpSp>
        <p:nvGrpSpPr>
          <p:cNvPr id="135" name="Gráfico 16"/>
          <p:cNvGrpSpPr/>
          <p:nvPr/>
        </p:nvGrpSpPr>
        <p:grpSpPr>
          <a:xfrm>
            <a:off x="11421581" y="353999"/>
            <a:ext cx="396001" cy="396002"/>
            <a:chOff x="0" y="0"/>
            <a:chExt cx="396000" cy="396000"/>
          </a:xfrm>
        </p:grpSpPr>
        <p:sp>
          <p:nvSpPr>
            <p:cNvPr id="133" name="Forma Livre: Forma 2"/>
            <p:cNvSpPr/>
            <p:nvPr/>
          </p:nvSpPr>
          <p:spPr>
            <a:xfrm>
              <a:off x="-1" y="-1"/>
              <a:ext cx="396002" cy="396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89" y="0"/>
                  </a:moveTo>
                  <a:cubicBezTo>
                    <a:pt x="4843" y="0"/>
                    <a:pt x="0" y="4843"/>
                    <a:pt x="0" y="10789"/>
                  </a:cubicBezTo>
                  <a:cubicBezTo>
                    <a:pt x="0" y="16757"/>
                    <a:pt x="4843" y="21600"/>
                    <a:pt x="10789" y="21600"/>
                  </a:cubicBezTo>
                  <a:cubicBezTo>
                    <a:pt x="16735" y="21600"/>
                    <a:pt x="21600" y="16757"/>
                    <a:pt x="21600" y="10789"/>
                  </a:cubicBezTo>
                  <a:cubicBezTo>
                    <a:pt x="21600" y="4843"/>
                    <a:pt x="16735" y="0"/>
                    <a:pt x="10789" y="0"/>
                  </a:cubicBezTo>
                  <a:close/>
                  <a:moveTo>
                    <a:pt x="18162" y="15892"/>
                  </a:moveTo>
                  <a:cubicBezTo>
                    <a:pt x="15805" y="16151"/>
                    <a:pt x="13254" y="16216"/>
                    <a:pt x="10789" y="16216"/>
                  </a:cubicBezTo>
                  <a:cubicBezTo>
                    <a:pt x="8324" y="16216"/>
                    <a:pt x="5773" y="16151"/>
                    <a:pt x="3395" y="15892"/>
                  </a:cubicBezTo>
                  <a:cubicBezTo>
                    <a:pt x="2724" y="15827"/>
                    <a:pt x="2378" y="15654"/>
                    <a:pt x="2292" y="14941"/>
                  </a:cubicBezTo>
                  <a:cubicBezTo>
                    <a:pt x="2162" y="13578"/>
                    <a:pt x="2162" y="12194"/>
                    <a:pt x="2162" y="10789"/>
                  </a:cubicBezTo>
                  <a:cubicBezTo>
                    <a:pt x="2162" y="9406"/>
                    <a:pt x="2162" y="8022"/>
                    <a:pt x="2292" y="6659"/>
                  </a:cubicBezTo>
                  <a:cubicBezTo>
                    <a:pt x="2378" y="5946"/>
                    <a:pt x="2724" y="5773"/>
                    <a:pt x="3395" y="5708"/>
                  </a:cubicBezTo>
                  <a:cubicBezTo>
                    <a:pt x="5773" y="5449"/>
                    <a:pt x="8324" y="5384"/>
                    <a:pt x="10789" y="5384"/>
                  </a:cubicBezTo>
                  <a:cubicBezTo>
                    <a:pt x="13254" y="5384"/>
                    <a:pt x="15805" y="5449"/>
                    <a:pt x="18162" y="5708"/>
                  </a:cubicBezTo>
                  <a:cubicBezTo>
                    <a:pt x="18854" y="5773"/>
                    <a:pt x="19200" y="5946"/>
                    <a:pt x="19286" y="6659"/>
                  </a:cubicBezTo>
                  <a:cubicBezTo>
                    <a:pt x="19394" y="8021"/>
                    <a:pt x="19394" y="9405"/>
                    <a:pt x="19394" y="10789"/>
                  </a:cubicBezTo>
                  <a:cubicBezTo>
                    <a:pt x="19394" y="12194"/>
                    <a:pt x="19394" y="13578"/>
                    <a:pt x="19286" y="14940"/>
                  </a:cubicBezTo>
                  <a:cubicBezTo>
                    <a:pt x="19200" y="15654"/>
                    <a:pt x="18854" y="15827"/>
                    <a:pt x="18162" y="15891"/>
                  </a:cubicBezTo>
                  <a:close/>
                </a:path>
              </a:pathLst>
            </a:custGeom>
            <a:solidFill>
              <a:srgbClr val="BC303C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4" name="Forma Livre: Forma 3"/>
            <p:cNvSpPr/>
            <p:nvPr/>
          </p:nvSpPr>
          <p:spPr>
            <a:xfrm>
              <a:off x="117726" y="117732"/>
              <a:ext cx="160141" cy="160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73"/>
                  </a:moveTo>
                  <a:cubicBezTo>
                    <a:pt x="0" y="4907"/>
                    <a:pt x="4705" y="0"/>
                    <a:pt x="10800" y="0"/>
                  </a:cubicBezTo>
                  <a:cubicBezTo>
                    <a:pt x="16895" y="0"/>
                    <a:pt x="21600" y="4907"/>
                    <a:pt x="21600" y="10773"/>
                  </a:cubicBezTo>
                  <a:cubicBezTo>
                    <a:pt x="21600" y="16693"/>
                    <a:pt x="16895" y="21600"/>
                    <a:pt x="10800" y="21600"/>
                  </a:cubicBezTo>
                  <a:cubicBezTo>
                    <a:pt x="4705" y="21600"/>
                    <a:pt x="0" y="16693"/>
                    <a:pt x="0" y="10773"/>
                  </a:cubicBezTo>
                  <a:close/>
                </a:path>
              </a:pathLst>
            </a:custGeom>
            <a:solidFill>
              <a:srgbClr val="BC303C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13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155967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43660">
                <a:srgbClr val="011EAE">
                  <a:alpha val="90000"/>
                </a:srgbClr>
              </a:gs>
              <a:gs pos="0">
                <a:srgbClr val="02033A"/>
              </a:gs>
              <a:gs pos="74000">
                <a:srgbClr val="0031FF">
                  <a:alpha val="90000"/>
                </a:srgbClr>
              </a:gs>
              <a:gs pos="100000">
                <a:srgbClr val="00B8F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pic>
        <p:nvPicPr>
          <p:cNvPr id="5" name="Imagem 4" descr="Desenho de um círculo&#10;&#10;Descrição gerada automaticamente com confiança baixa">
            <a:extLst>
              <a:ext uri="{FF2B5EF4-FFF2-40B4-BE49-F238E27FC236}">
                <a16:creationId xmlns:a16="http://schemas.microsoft.com/office/drawing/2014/main" id="{D8089842-A9D9-39B3-57AB-4AAE9812F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1511" b="713"/>
          <a:stretch/>
        </p:blipFill>
        <p:spPr>
          <a:xfrm>
            <a:off x="11718674" y="134809"/>
            <a:ext cx="33247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9090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Rectangle 4"/>
          <p:cNvSpPr/>
          <p:nvPr/>
        </p:nvSpPr>
        <p:spPr>
          <a:xfrm>
            <a:off x="0" y="0"/>
            <a:ext cx="2159563" cy="6858000"/>
          </a:xfrm>
          <a:prstGeom prst="rect">
            <a:avLst/>
          </a:prstGeom>
          <a:gradFill>
            <a:gsLst>
              <a:gs pos="0">
                <a:srgbClr val="EBEBEB"/>
              </a:gs>
              <a:gs pos="42000">
                <a:srgbClr val="EFEFEF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44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2111999" y="34313"/>
            <a:ext cx="10080002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Free PPT _ Click to add title</a:t>
            </a:r>
          </a:p>
        </p:txBody>
      </p:sp>
      <p:pic>
        <p:nvPicPr>
          <p:cNvPr id="145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26" y="4442898"/>
            <a:ext cx="1449937" cy="2160001"/>
          </a:xfrm>
          <a:prstGeom prst="rect">
            <a:avLst/>
          </a:prstGeom>
          <a:ln w="12700">
            <a:miter lim="400000"/>
          </a:ln>
        </p:spPr>
      </p:pic>
      <p:sp>
        <p:nvSpPr>
          <p:cNvPr id="146" name="Straight Arrow Connector 8"/>
          <p:cNvSpPr/>
          <p:nvPr/>
        </p:nvSpPr>
        <p:spPr>
          <a:xfrm>
            <a:off x="948994" y="6602899"/>
            <a:ext cx="11243007" cy="1"/>
          </a:xfrm>
          <a:prstGeom prst="line">
            <a:avLst/>
          </a:prstGeom>
          <a:ln w="12700">
            <a:solidFill>
              <a:srgbClr val="0DD2D9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4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8564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035101" y="1682824"/>
            <a:ext cx="2112236" cy="2640000"/>
          </a:xfrm>
          <a:prstGeom prst="rect">
            <a:avLst/>
          </a:prstGeom>
          <a:ln w="50800">
            <a:solidFill>
              <a:srgbClr val="0DD2D9"/>
            </a:solidFill>
            <a:round/>
          </a:ln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55" name="Rectangle 5"/>
          <p:cNvSpPr/>
          <p:nvPr/>
        </p:nvSpPr>
        <p:spPr>
          <a:xfrm>
            <a:off x="1" y="0"/>
            <a:ext cx="12144672" cy="1104000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sp>
        <p:nvSpPr>
          <p:cNvPr id="15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906511" y="1802824"/>
            <a:ext cx="1920214" cy="2400001"/>
          </a:xfrm>
          <a:prstGeom prst="rect">
            <a:avLst/>
          </a:prstGeom>
          <a:ln w="50800">
            <a:solidFill>
              <a:srgbClr val="0DD2D9"/>
            </a:solidFill>
            <a:round/>
          </a:ln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58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964576" y="1916953"/>
            <a:ext cx="1728193" cy="2160000"/>
          </a:xfrm>
          <a:prstGeom prst="rect">
            <a:avLst/>
          </a:prstGeom>
          <a:ln w="50800">
            <a:solidFill>
              <a:srgbClr val="0DD2D9"/>
            </a:solidFill>
            <a:round/>
          </a:ln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59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355712" y="1802824"/>
            <a:ext cx="1920214" cy="2400001"/>
          </a:xfrm>
          <a:prstGeom prst="rect">
            <a:avLst/>
          </a:prstGeom>
          <a:ln w="50800">
            <a:solidFill>
              <a:srgbClr val="0DD2D9"/>
            </a:solidFill>
            <a:round/>
          </a:ln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60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9484300" y="1922826"/>
            <a:ext cx="1728193" cy="2160000"/>
          </a:xfrm>
          <a:prstGeom prst="rect">
            <a:avLst/>
          </a:prstGeom>
          <a:ln w="50800">
            <a:solidFill>
              <a:srgbClr val="0DD2D9"/>
            </a:solidFill>
            <a:round/>
          </a:ln>
        </p:spPr>
        <p:txBody>
          <a:bodyPr lIns="91439" rIns="91439">
            <a:noAutofit/>
          </a:bodyPr>
          <a:lstStyle/>
          <a:p>
            <a:endParaRPr/>
          </a:p>
        </p:txBody>
      </p:sp>
      <p:pic>
        <p:nvPicPr>
          <p:cNvPr id="161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3575" y="141043"/>
            <a:ext cx="636321" cy="947944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2828860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Picture Placeholder 2"/>
          <p:cNvSpPr>
            <a:spLocks noGrp="1"/>
          </p:cNvSpPr>
          <p:nvPr>
            <p:ph type="pic" idx="21"/>
          </p:nvPr>
        </p:nvSpPr>
        <p:spPr>
          <a:xfrm>
            <a:off x="240000" y="239399"/>
            <a:ext cx="11712000" cy="637920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7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30678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tangle 6"/>
          <p:cNvSpPr/>
          <p:nvPr/>
        </p:nvSpPr>
        <p:spPr>
          <a:xfrm>
            <a:off x="959999" y="590006"/>
            <a:ext cx="10272002" cy="5708481"/>
          </a:xfrm>
          <a:prstGeom prst="rect">
            <a:avLst/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" name="Picture Placeholder 2"/>
          <p:cNvSpPr>
            <a:spLocks noGrp="1"/>
          </p:cNvSpPr>
          <p:nvPr>
            <p:ph type="pic" sz="half" idx="21"/>
          </p:nvPr>
        </p:nvSpPr>
        <p:spPr>
          <a:xfrm>
            <a:off x="4367807" y="0"/>
            <a:ext cx="3456385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79" name="Retângulo 1"/>
          <p:cNvSpPr/>
          <p:nvPr/>
        </p:nvSpPr>
        <p:spPr>
          <a:xfrm>
            <a:off x="-829995" y="267286"/>
            <a:ext cx="365762" cy="309490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0" name="Retângulo 2"/>
          <p:cNvSpPr/>
          <p:nvPr/>
        </p:nvSpPr>
        <p:spPr>
          <a:xfrm>
            <a:off x="-829995" y="717451"/>
            <a:ext cx="365762" cy="309490"/>
          </a:xfrm>
          <a:prstGeom prst="rect">
            <a:avLst/>
          </a:prstGeom>
          <a:solidFill>
            <a:srgbClr val="CC235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1" name="Retângulo 3"/>
          <p:cNvSpPr/>
          <p:nvPr/>
        </p:nvSpPr>
        <p:spPr>
          <a:xfrm>
            <a:off x="-829995" y="1167617"/>
            <a:ext cx="365762" cy="309490"/>
          </a:xfrm>
          <a:prstGeom prst="rect">
            <a:avLst/>
          </a:prstGeom>
          <a:solidFill>
            <a:srgbClr val="CF859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2" name="Retângulo 4"/>
          <p:cNvSpPr/>
          <p:nvPr/>
        </p:nvSpPr>
        <p:spPr>
          <a:xfrm>
            <a:off x="-829995" y="1617784"/>
            <a:ext cx="365762" cy="309490"/>
          </a:xfrm>
          <a:prstGeom prst="rect">
            <a:avLst/>
          </a:prstGeom>
          <a:solidFill>
            <a:srgbClr val="E612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3" name="Retângulo 7"/>
          <p:cNvSpPr/>
          <p:nvPr/>
        </p:nvSpPr>
        <p:spPr>
          <a:xfrm>
            <a:off x="-829995" y="2067949"/>
            <a:ext cx="365762" cy="309490"/>
          </a:xfrm>
          <a:prstGeom prst="rect">
            <a:avLst/>
          </a:prstGeom>
          <a:solidFill>
            <a:srgbClr val="F7521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4" name="Retângulo 8"/>
          <p:cNvSpPr/>
          <p:nvPr/>
        </p:nvSpPr>
        <p:spPr>
          <a:xfrm>
            <a:off x="-829995" y="2518116"/>
            <a:ext cx="365762" cy="309490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5" name="Retângulo 9"/>
          <p:cNvSpPr/>
          <p:nvPr/>
        </p:nvSpPr>
        <p:spPr>
          <a:xfrm>
            <a:off x="-829995" y="2968281"/>
            <a:ext cx="365762" cy="309491"/>
          </a:xfrm>
          <a:prstGeom prst="rect">
            <a:avLst/>
          </a:prstGeom>
          <a:solidFill>
            <a:srgbClr val="FF00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6" name="Retângulo 10"/>
          <p:cNvSpPr/>
          <p:nvPr/>
        </p:nvSpPr>
        <p:spPr>
          <a:xfrm>
            <a:off x="-829995" y="3429000"/>
            <a:ext cx="365762" cy="309490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7" name="Retângulo 11"/>
          <p:cNvSpPr/>
          <p:nvPr/>
        </p:nvSpPr>
        <p:spPr>
          <a:xfrm>
            <a:off x="-829995" y="3856151"/>
            <a:ext cx="365762" cy="309490"/>
          </a:xfrm>
          <a:prstGeom prst="rect">
            <a:avLst/>
          </a:prstGeom>
          <a:solidFill>
            <a:srgbClr val="C3657B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8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3807759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" name="그림 1" descr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106" y="2180862"/>
            <a:ext cx="5622863" cy="3080978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810352" y="2308195"/>
            <a:ext cx="3936437" cy="254098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97" name="Rectangle 9"/>
          <p:cNvSpPr/>
          <p:nvPr/>
        </p:nvSpPr>
        <p:spPr>
          <a:xfrm>
            <a:off x="1" y="-1"/>
            <a:ext cx="12144672" cy="1152002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8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pic>
        <p:nvPicPr>
          <p:cNvPr id="199" name="Picture 2" descr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63575" y="141043"/>
            <a:ext cx="636321" cy="947944"/>
          </a:xfrm>
          <a:prstGeom prst="rect">
            <a:avLst/>
          </a:prstGeom>
          <a:ln w="12700">
            <a:miter lim="400000"/>
          </a:ln>
        </p:spPr>
      </p:pic>
      <p:sp>
        <p:nvSpPr>
          <p:cNvPr id="20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2631531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Picture Placeholder 2"/>
          <p:cNvSpPr>
            <a:spLocks noGrp="1"/>
          </p:cNvSpPr>
          <p:nvPr>
            <p:ph type="pic" sz="half" idx="21"/>
          </p:nvPr>
        </p:nvSpPr>
        <p:spPr>
          <a:xfrm>
            <a:off x="3407700" y="1685331"/>
            <a:ext cx="3696001" cy="460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08" name="Rectangle 6"/>
          <p:cNvSpPr/>
          <p:nvPr/>
        </p:nvSpPr>
        <p:spPr>
          <a:xfrm>
            <a:off x="978336" y="1685331"/>
            <a:ext cx="2447702" cy="2304257"/>
          </a:xfrm>
          <a:prstGeom prst="rect">
            <a:avLst/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9" name="Rectangle 7"/>
          <p:cNvSpPr/>
          <p:nvPr/>
        </p:nvSpPr>
        <p:spPr>
          <a:xfrm>
            <a:off x="978336" y="3989075"/>
            <a:ext cx="2447702" cy="2304257"/>
          </a:xfrm>
          <a:prstGeom prst="rect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10" name="Rectangle 8"/>
          <p:cNvSpPr/>
          <p:nvPr/>
        </p:nvSpPr>
        <p:spPr>
          <a:xfrm>
            <a:off x="1" y="-1"/>
            <a:ext cx="12144672" cy="1152002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11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pic>
        <p:nvPicPr>
          <p:cNvPr id="212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3575" y="141043"/>
            <a:ext cx="636321" cy="947944"/>
          </a:xfrm>
          <a:prstGeom prst="rect">
            <a:avLst/>
          </a:prstGeom>
          <a:ln w="12700">
            <a:miter lim="400000"/>
          </a:ln>
        </p:spPr>
      </p:pic>
      <p:sp>
        <p:nvSpPr>
          <p:cNvPr id="213" name="Retângulo 1"/>
          <p:cNvSpPr/>
          <p:nvPr/>
        </p:nvSpPr>
        <p:spPr>
          <a:xfrm>
            <a:off x="-829995" y="267286"/>
            <a:ext cx="365762" cy="309490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4" name="Retângulo 2"/>
          <p:cNvSpPr/>
          <p:nvPr/>
        </p:nvSpPr>
        <p:spPr>
          <a:xfrm>
            <a:off x="-829995" y="717451"/>
            <a:ext cx="365762" cy="309490"/>
          </a:xfrm>
          <a:prstGeom prst="rect">
            <a:avLst/>
          </a:prstGeom>
          <a:solidFill>
            <a:srgbClr val="CC235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5" name="Retângulo 3"/>
          <p:cNvSpPr/>
          <p:nvPr/>
        </p:nvSpPr>
        <p:spPr>
          <a:xfrm>
            <a:off x="-829995" y="1167617"/>
            <a:ext cx="365762" cy="309490"/>
          </a:xfrm>
          <a:prstGeom prst="rect">
            <a:avLst/>
          </a:prstGeom>
          <a:solidFill>
            <a:srgbClr val="CF859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6" name="Retângulo 4"/>
          <p:cNvSpPr/>
          <p:nvPr/>
        </p:nvSpPr>
        <p:spPr>
          <a:xfrm>
            <a:off x="-829995" y="1617784"/>
            <a:ext cx="365762" cy="309490"/>
          </a:xfrm>
          <a:prstGeom prst="rect">
            <a:avLst/>
          </a:prstGeom>
          <a:solidFill>
            <a:srgbClr val="E612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7" name="Retângulo 10"/>
          <p:cNvSpPr/>
          <p:nvPr/>
        </p:nvSpPr>
        <p:spPr>
          <a:xfrm>
            <a:off x="-829995" y="2067949"/>
            <a:ext cx="365762" cy="309490"/>
          </a:xfrm>
          <a:prstGeom prst="rect">
            <a:avLst/>
          </a:prstGeom>
          <a:solidFill>
            <a:srgbClr val="F7521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8" name="Retângulo 11"/>
          <p:cNvSpPr/>
          <p:nvPr/>
        </p:nvSpPr>
        <p:spPr>
          <a:xfrm>
            <a:off x="-829995" y="2518116"/>
            <a:ext cx="365762" cy="309490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9" name="Retângulo 13"/>
          <p:cNvSpPr/>
          <p:nvPr/>
        </p:nvSpPr>
        <p:spPr>
          <a:xfrm>
            <a:off x="-829995" y="2968281"/>
            <a:ext cx="365762" cy="309491"/>
          </a:xfrm>
          <a:prstGeom prst="rect">
            <a:avLst/>
          </a:prstGeom>
          <a:solidFill>
            <a:srgbClr val="FF00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0" name="Retângulo 14"/>
          <p:cNvSpPr/>
          <p:nvPr/>
        </p:nvSpPr>
        <p:spPr>
          <a:xfrm>
            <a:off x="-829995" y="3429000"/>
            <a:ext cx="365762" cy="309490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1" name="Retângulo 15"/>
          <p:cNvSpPr/>
          <p:nvPr/>
        </p:nvSpPr>
        <p:spPr>
          <a:xfrm>
            <a:off x="-829995" y="3856151"/>
            <a:ext cx="365762" cy="309490"/>
          </a:xfrm>
          <a:prstGeom prst="rect">
            <a:avLst/>
          </a:prstGeom>
          <a:solidFill>
            <a:srgbClr val="C3657B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2173403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Rectangle 7"/>
          <p:cNvSpPr/>
          <p:nvPr/>
        </p:nvSpPr>
        <p:spPr>
          <a:xfrm>
            <a:off x="3215680" y="5253202"/>
            <a:ext cx="2880321" cy="1604798"/>
          </a:xfrm>
          <a:prstGeom prst="rect">
            <a:avLst/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30" name="Rectangle 8"/>
          <p:cNvSpPr/>
          <p:nvPr/>
        </p:nvSpPr>
        <p:spPr>
          <a:xfrm>
            <a:off x="6096000" y="-1"/>
            <a:ext cx="2880321" cy="1604799"/>
          </a:xfrm>
          <a:prstGeom prst="rect">
            <a:avLst/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31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215680" y="0"/>
            <a:ext cx="2880001" cy="5280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32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320" y="1577999"/>
            <a:ext cx="2880001" cy="5280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33" name="Retângulo 1"/>
          <p:cNvSpPr/>
          <p:nvPr/>
        </p:nvSpPr>
        <p:spPr>
          <a:xfrm>
            <a:off x="-829995" y="267286"/>
            <a:ext cx="365762" cy="309490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4" name="Retângulo 2"/>
          <p:cNvSpPr/>
          <p:nvPr/>
        </p:nvSpPr>
        <p:spPr>
          <a:xfrm>
            <a:off x="-829995" y="717451"/>
            <a:ext cx="365762" cy="309490"/>
          </a:xfrm>
          <a:prstGeom prst="rect">
            <a:avLst/>
          </a:prstGeom>
          <a:solidFill>
            <a:srgbClr val="CC235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5" name="Retângulo 3"/>
          <p:cNvSpPr/>
          <p:nvPr/>
        </p:nvSpPr>
        <p:spPr>
          <a:xfrm>
            <a:off x="-829995" y="1167617"/>
            <a:ext cx="365762" cy="309490"/>
          </a:xfrm>
          <a:prstGeom prst="rect">
            <a:avLst/>
          </a:prstGeom>
          <a:solidFill>
            <a:srgbClr val="CF859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6" name="Retângulo 4"/>
          <p:cNvSpPr/>
          <p:nvPr/>
        </p:nvSpPr>
        <p:spPr>
          <a:xfrm>
            <a:off x="-829995" y="1617784"/>
            <a:ext cx="365762" cy="309490"/>
          </a:xfrm>
          <a:prstGeom prst="rect">
            <a:avLst/>
          </a:prstGeom>
          <a:solidFill>
            <a:srgbClr val="E612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7" name="Retângulo 9"/>
          <p:cNvSpPr/>
          <p:nvPr/>
        </p:nvSpPr>
        <p:spPr>
          <a:xfrm>
            <a:off x="-829995" y="2067949"/>
            <a:ext cx="365762" cy="309490"/>
          </a:xfrm>
          <a:prstGeom prst="rect">
            <a:avLst/>
          </a:prstGeom>
          <a:solidFill>
            <a:srgbClr val="F7521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8" name="Retângulo 10"/>
          <p:cNvSpPr/>
          <p:nvPr/>
        </p:nvSpPr>
        <p:spPr>
          <a:xfrm>
            <a:off x="-829995" y="2518116"/>
            <a:ext cx="365762" cy="309490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9" name="Retângulo 11"/>
          <p:cNvSpPr/>
          <p:nvPr/>
        </p:nvSpPr>
        <p:spPr>
          <a:xfrm>
            <a:off x="-829995" y="2968281"/>
            <a:ext cx="365762" cy="309491"/>
          </a:xfrm>
          <a:prstGeom prst="rect">
            <a:avLst/>
          </a:prstGeom>
          <a:solidFill>
            <a:srgbClr val="FF00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0" name="Retângulo 12"/>
          <p:cNvSpPr/>
          <p:nvPr/>
        </p:nvSpPr>
        <p:spPr>
          <a:xfrm>
            <a:off x="-829995" y="3429000"/>
            <a:ext cx="365762" cy="309490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1" name="Retângulo 13"/>
          <p:cNvSpPr/>
          <p:nvPr/>
        </p:nvSpPr>
        <p:spPr>
          <a:xfrm>
            <a:off x="-829995" y="3856151"/>
            <a:ext cx="365762" cy="309490"/>
          </a:xfrm>
          <a:prstGeom prst="rect">
            <a:avLst/>
          </a:prstGeom>
          <a:solidFill>
            <a:srgbClr val="C3657B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6545568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Rectangle 10"/>
          <p:cNvSpPr/>
          <p:nvPr/>
        </p:nvSpPr>
        <p:spPr>
          <a:xfrm>
            <a:off x="1" y="-1"/>
            <a:ext cx="12144672" cy="1152002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50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pic>
        <p:nvPicPr>
          <p:cNvPr id="251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402" y="1748645"/>
            <a:ext cx="4525745" cy="4512501"/>
          </a:xfrm>
          <a:prstGeom prst="rect">
            <a:avLst/>
          </a:prstGeom>
          <a:ln w="12700">
            <a:miter lim="400000"/>
          </a:ln>
        </p:spPr>
      </p:pic>
      <p:sp>
        <p:nvSpPr>
          <p:cNvPr id="25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00821" y="1925231"/>
            <a:ext cx="4139062" cy="284791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pic>
        <p:nvPicPr>
          <p:cNvPr id="253" name="Picture 2" descr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63575" y="141043"/>
            <a:ext cx="636321" cy="947944"/>
          </a:xfrm>
          <a:prstGeom prst="rect">
            <a:avLst/>
          </a:prstGeom>
          <a:ln w="12700">
            <a:miter lim="400000"/>
          </a:ln>
        </p:spPr>
      </p:pic>
      <p:sp>
        <p:nvSpPr>
          <p:cNvPr id="25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2223754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39"/>
          <p:cNvSpPr/>
          <p:nvPr/>
        </p:nvSpPr>
        <p:spPr>
          <a:xfrm>
            <a:off x="0" y="3853912"/>
            <a:ext cx="12192000" cy="3004090"/>
          </a:xfrm>
          <a:prstGeom prst="rect">
            <a:avLst/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267" name="Group 14"/>
          <p:cNvGrpSpPr/>
          <p:nvPr/>
        </p:nvGrpSpPr>
        <p:grpSpPr>
          <a:xfrm>
            <a:off x="1227595" y="2070578"/>
            <a:ext cx="1731402" cy="2990605"/>
            <a:chOff x="0" y="0"/>
            <a:chExt cx="1731400" cy="2990604"/>
          </a:xfrm>
        </p:grpSpPr>
        <p:sp>
          <p:nvSpPr>
            <p:cNvPr id="262" name="Rounded Rectangle 8"/>
            <p:cNvSpPr/>
            <p:nvPr/>
          </p:nvSpPr>
          <p:spPr>
            <a:xfrm>
              <a:off x="0" y="0"/>
              <a:ext cx="1731401" cy="2990605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3" name="Rectangle 9"/>
            <p:cNvSpPr/>
            <p:nvPr/>
          </p:nvSpPr>
          <p:spPr>
            <a:xfrm>
              <a:off x="762197" y="141385"/>
              <a:ext cx="207004" cy="39979"/>
            </a:xfrm>
            <a:prstGeom prst="rect">
              <a:avLst/>
            </a:prstGeom>
            <a:solidFill>
              <a:srgbClr val="B0B0B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grpSp>
          <p:nvGrpSpPr>
            <p:cNvPr id="266" name="Group 10"/>
            <p:cNvGrpSpPr/>
            <p:nvPr/>
          </p:nvGrpSpPr>
          <p:grpSpPr>
            <a:xfrm>
              <a:off x="781833" y="2715886"/>
              <a:ext cx="167735" cy="184509"/>
              <a:chOff x="0" y="0"/>
              <a:chExt cx="167733" cy="184508"/>
            </a:xfrm>
          </p:grpSpPr>
          <p:sp>
            <p:nvSpPr>
              <p:cNvPr id="264" name="Oval 12"/>
              <p:cNvSpPr/>
              <p:nvPr/>
            </p:nvSpPr>
            <p:spPr>
              <a:xfrm>
                <a:off x="0" y="-1"/>
                <a:ext cx="167734" cy="184510"/>
              </a:xfrm>
              <a:prstGeom prst="ellipse">
                <a:avLst/>
              </a:prstGeom>
              <a:gradFill flip="none" rotWithShape="1">
                <a:gsLst>
                  <a:gs pos="0">
                    <a:srgbClr val="0F0F0F"/>
                  </a:gs>
                  <a:gs pos="56000">
                    <a:srgbClr val="595959"/>
                  </a:gs>
                  <a:gs pos="91000">
                    <a:srgbClr val="808080"/>
                  </a:gs>
                  <a:gs pos="100000">
                    <a:srgbClr val="BFBFBF"/>
                  </a:gs>
                </a:gsLst>
                <a:lin ang="10800000" scaled="0"/>
              </a:gradFill>
              <a:ln w="3175" cap="flat">
                <a:solidFill>
                  <a:srgbClr val="262626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265" name="Rounded Rectangle 13"/>
              <p:cNvSpPr/>
              <p:nvPr/>
            </p:nvSpPr>
            <p:spPr>
              <a:xfrm>
                <a:off x="45507" y="49749"/>
                <a:ext cx="76719" cy="85010"/>
              </a:xfrm>
              <a:prstGeom prst="roundRect">
                <a:avLst>
                  <a:gd name="adj" fmla="val 16667"/>
                </a:avLst>
              </a:prstGeom>
              <a:solidFill>
                <a:srgbClr val="737373"/>
              </a:solidFill>
              <a:ln w="6350" cap="flat">
                <a:solidFill>
                  <a:srgbClr val="B0B0B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26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326117" y="2323779"/>
            <a:ext cx="1524232" cy="240339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grpSp>
        <p:nvGrpSpPr>
          <p:cNvPr id="274" name="Group 15"/>
          <p:cNvGrpSpPr/>
          <p:nvPr/>
        </p:nvGrpSpPr>
        <p:grpSpPr>
          <a:xfrm>
            <a:off x="3880703" y="2784805"/>
            <a:ext cx="1731402" cy="2990606"/>
            <a:chOff x="0" y="0"/>
            <a:chExt cx="1731400" cy="2990604"/>
          </a:xfrm>
        </p:grpSpPr>
        <p:sp>
          <p:nvSpPr>
            <p:cNvPr id="269" name="Rounded Rectangle 16"/>
            <p:cNvSpPr/>
            <p:nvPr/>
          </p:nvSpPr>
          <p:spPr>
            <a:xfrm>
              <a:off x="0" y="0"/>
              <a:ext cx="1731401" cy="2990605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0" name="Rectangle 17"/>
            <p:cNvSpPr/>
            <p:nvPr/>
          </p:nvSpPr>
          <p:spPr>
            <a:xfrm>
              <a:off x="762197" y="141385"/>
              <a:ext cx="207004" cy="39979"/>
            </a:xfrm>
            <a:prstGeom prst="rect">
              <a:avLst/>
            </a:prstGeom>
            <a:solidFill>
              <a:srgbClr val="B0B0B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grpSp>
          <p:nvGrpSpPr>
            <p:cNvPr id="273" name="Group 18"/>
            <p:cNvGrpSpPr/>
            <p:nvPr/>
          </p:nvGrpSpPr>
          <p:grpSpPr>
            <a:xfrm>
              <a:off x="781833" y="2715886"/>
              <a:ext cx="167735" cy="184509"/>
              <a:chOff x="0" y="0"/>
              <a:chExt cx="167733" cy="184508"/>
            </a:xfrm>
          </p:grpSpPr>
          <p:sp>
            <p:nvSpPr>
              <p:cNvPr id="271" name="Oval 19"/>
              <p:cNvSpPr/>
              <p:nvPr/>
            </p:nvSpPr>
            <p:spPr>
              <a:xfrm>
                <a:off x="0" y="-1"/>
                <a:ext cx="167734" cy="184510"/>
              </a:xfrm>
              <a:prstGeom prst="ellipse">
                <a:avLst/>
              </a:prstGeom>
              <a:gradFill flip="none" rotWithShape="1">
                <a:gsLst>
                  <a:gs pos="0">
                    <a:srgbClr val="0F0F0F"/>
                  </a:gs>
                  <a:gs pos="56000">
                    <a:srgbClr val="595959"/>
                  </a:gs>
                  <a:gs pos="91000">
                    <a:srgbClr val="808080"/>
                  </a:gs>
                  <a:gs pos="100000">
                    <a:srgbClr val="BFBFBF"/>
                  </a:gs>
                </a:gsLst>
                <a:lin ang="10800000" scaled="0"/>
              </a:gradFill>
              <a:ln w="3175" cap="flat">
                <a:solidFill>
                  <a:srgbClr val="262626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272" name="Rounded Rectangle 20"/>
              <p:cNvSpPr/>
              <p:nvPr/>
            </p:nvSpPr>
            <p:spPr>
              <a:xfrm>
                <a:off x="45507" y="49749"/>
                <a:ext cx="76719" cy="85010"/>
              </a:xfrm>
              <a:prstGeom prst="roundRect">
                <a:avLst>
                  <a:gd name="adj" fmla="val 16667"/>
                </a:avLst>
              </a:prstGeom>
              <a:solidFill>
                <a:srgbClr val="737373"/>
              </a:solidFill>
              <a:ln w="6350" cap="flat">
                <a:solidFill>
                  <a:srgbClr val="B0B0B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275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979224" y="3055711"/>
            <a:ext cx="1524233" cy="240339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grpSp>
        <p:nvGrpSpPr>
          <p:cNvPr id="281" name="Group 22"/>
          <p:cNvGrpSpPr/>
          <p:nvPr/>
        </p:nvGrpSpPr>
        <p:grpSpPr>
          <a:xfrm>
            <a:off x="6533812" y="1844491"/>
            <a:ext cx="1731401" cy="2990605"/>
            <a:chOff x="0" y="0"/>
            <a:chExt cx="1731400" cy="2990604"/>
          </a:xfrm>
        </p:grpSpPr>
        <p:sp>
          <p:nvSpPr>
            <p:cNvPr id="276" name="Rounded Rectangle 23"/>
            <p:cNvSpPr/>
            <p:nvPr/>
          </p:nvSpPr>
          <p:spPr>
            <a:xfrm>
              <a:off x="0" y="0"/>
              <a:ext cx="1731401" cy="2990605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7" name="Rectangle 24"/>
            <p:cNvSpPr/>
            <p:nvPr/>
          </p:nvSpPr>
          <p:spPr>
            <a:xfrm>
              <a:off x="762197" y="141385"/>
              <a:ext cx="207004" cy="39979"/>
            </a:xfrm>
            <a:prstGeom prst="rect">
              <a:avLst/>
            </a:prstGeom>
            <a:solidFill>
              <a:srgbClr val="B0B0B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grpSp>
          <p:nvGrpSpPr>
            <p:cNvPr id="280" name="Group 25"/>
            <p:cNvGrpSpPr/>
            <p:nvPr/>
          </p:nvGrpSpPr>
          <p:grpSpPr>
            <a:xfrm>
              <a:off x="781833" y="2715886"/>
              <a:ext cx="167735" cy="184509"/>
              <a:chOff x="0" y="0"/>
              <a:chExt cx="167733" cy="184508"/>
            </a:xfrm>
          </p:grpSpPr>
          <p:sp>
            <p:nvSpPr>
              <p:cNvPr id="278" name="Oval 26"/>
              <p:cNvSpPr/>
              <p:nvPr/>
            </p:nvSpPr>
            <p:spPr>
              <a:xfrm>
                <a:off x="0" y="-1"/>
                <a:ext cx="167734" cy="184510"/>
              </a:xfrm>
              <a:prstGeom prst="ellipse">
                <a:avLst/>
              </a:prstGeom>
              <a:gradFill flip="none" rotWithShape="1">
                <a:gsLst>
                  <a:gs pos="0">
                    <a:srgbClr val="0F0F0F"/>
                  </a:gs>
                  <a:gs pos="56000">
                    <a:srgbClr val="595959"/>
                  </a:gs>
                  <a:gs pos="91000">
                    <a:srgbClr val="808080"/>
                  </a:gs>
                  <a:gs pos="100000">
                    <a:srgbClr val="BFBFBF"/>
                  </a:gs>
                </a:gsLst>
                <a:lin ang="10800000" scaled="0"/>
              </a:gradFill>
              <a:ln w="3175" cap="flat">
                <a:solidFill>
                  <a:srgbClr val="262626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279" name="Rounded Rectangle 27"/>
              <p:cNvSpPr/>
              <p:nvPr/>
            </p:nvSpPr>
            <p:spPr>
              <a:xfrm>
                <a:off x="45507" y="49749"/>
                <a:ext cx="76719" cy="85010"/>
              </a:xfrm>
              <a:prstGeom prst="roundRect">
                <a:avLst>
                  <a:gd name="adj" fmla="val 16667"/>
                </a:avLst>
              </a:prstGeom>
              <a:solidFill>
                <a:srgbClr val="737373"/>
              </a:solidFill>
              <a:ln w="6350" cap="flat">
                <a:solidFill>
                  <a:srgbClr val="B0B0B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282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632333" y="2115398"/>
            <a:ext cx="1524233" cy="240339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grpSp>
        <p:nvGrpSpPr>
          <p:cNvPr id="288" name="Group 29"/>
          <p:cNvGrpSpPr/>
          <p:nvPr/>
        </p:nvGrpSpPr>
        <p:grpSpPr>
          <a:xfrm>
            <a:off x="9186918" y="3126695"/>
            <a:ext cx="1731402" cy="2990605"/>
            <a:chOff x="0" y="0"/>
            <a:chExt cx="1731400" cy="2990604"/>
          </a:xfrm>
        </p:grpSpPr>
        <p:sp>
          <p:nvSpPr>
            <p:cNvPr id="283" name="Rounded Rectangle 30"/>
            <p:cNvSpPr/>
            <p:nvPr/>
          </p:nvSpPr>
          <p:spPr>
            <a:xfrm>
              <a:off x="0" y="0"/>
              <a:ext cx="1731401" cy="2990605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4" name="Rectangle 31"/>
            <p:cNvSpPr/>
            <p:nvPr/>
          </p:nvSpPr>
          <p:spPr>
            <a:xfrm>
              <a:off x="762197" y="141385"/>
              <a:ext cx="207004" cy="39979"/>
            </a:xfrm>
            <a:prstGeom prst="rect">
              <a:avLst/>
            </a:prstGeom>
            <a:solidFill>
              <a:srgbClr val="B0B0B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grpSp>
          <p:nvGrpSpPr>
            <p:cNvPr id="287" name="Group 32"/>
            <p:cNvGrpSpPr/>
            <p:nvPr/>
          </p:nvGrpSpPr>
          <p:grpSpPr>
            <a:xfrm>
              <a:off x="781833" y="2715886"/>
              <a:ext cx="167735" cy="184509"/>
              <a:chOff x="0" y="0"/>
              <a:chExt cx="167733" cy="184508"/>
            </a:xfrm>
          </p:grpSpPr>
          <p:sp>
            <p:nvSpPr>
              <p:cNvPr id="285" name="Oval 33"/>
              <p:cNvSpPr/>
              <p:nvPr/>
            </p:nvSpPr>
            <p:spPr>
              <a:xfrm>
                <a:off x="0" y="-1"/>
                <a:ext cx="167734" cy="184510"/>
              </a:xfrm>
              <a:prstGeom prst="ellipse">
                <a:avLst/>
              </a:prstGeom>
              <a:gradFill flip="none" rotWithShape="1">
                <a:gsLst>
                  <a:gs pos="0">
                    <a:srgbClr val="0F0F0F"/>
                  </a:gs>
                  <a:gs pos="56000">
                    <a:srgbClr val="595959"/>
                  </a:gs>
                  <a:gs pos="91000">
                    <a:srgbClr val="808080"/>
                  </a:gs>
                  <a:gs pos="100000">
                    <a:srgbClr val="BFBFBF"/>
                  </a:gs>
                </a:gsLst>
                <a:lin ang="10800000" scaled="0"/>
              </a:gradFill>
              <a:ln w="3175" cap="flat">
                <a:solidFill>
                  <a:srgbClr val="262626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286" name="Rounded Rectangle 34"/>
              <p:cNvSpPr/>
              <p:nvPr/>
            </p:nvSpPr>
            <p:spPr>
              <a:xfrm>
                <a:off x="45507" y="49749"/>
                <a:ext cx="76719" cy="85010"/>
              </a:xfrm>
              <a:prstGeom prst="roundRect">
                <a:avLst>
                  <a:gd name="adj" fmla="val 16667"/>
                </a:avLst>
              </a:prstGeom>
              <a:solidFill>
                <a:srgbClr val="737373"/>
              </a:solidFill>
              <a:ln w="6350" cap="flat">
                <a:solidFill>
                  <a:srgbClr val="B0B0B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24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289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9285440" y="3397601"/>
            <a:ext cx="1524233" cy="240339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0" name="Rectangle 36"/>
          <p:cNvSpPr/>
          <p:nvPr/>
        </p:nvSpPr>
        <p:spPr>
          <a:xfrm>
            <a:off x="1" y="-1"/>
            <a:ext cx="12144672" cy="1152002"/>
          </a:xfrm>
          <a:prstGeom prst="rect">
            <a:avLst/>
          </a:prstGeom>
          <a:gradFill>
            <a:gsLst>
              <a:gs pos="0">
                <a:srgbClr val="F0F0F0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1" name="Free PPT _ Click to add title"/>
          <p:cNvSpPr txBox="1">
            <a:spLocks noGrp="1"/>
          </p:cNvSpPr>
          <p:nvPr>
            <p:ph type="title" hasCustomPrompt="1"/>
          </p:nvPr>
        </p:nvSpPr>
        <p:spPr>
          <a:xfrm>
            <a:off x="0" y="34313"/>
            <a:ext cx="12192000" cy="1035375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 Free PPT _ Click to add title</a:t>
            </a:r>
          </a:p>
        </p:txBody>
      </p:sp>
      <p:pic>
        <p:nvPicPr>
          <p:cNvPr id="292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3575" y="141043"/>
            <a:ext cx="636321" cy="947944"/>
          </a:xfrm>
          <a:prstGeom prst="rect">
            <a:avLst/>
          </a:prstGeom>
          <a:ln w="12700">
            <a:miter lim="400000"/>
          </a:ln>
        </p:spPr>
      </p:pic>
      <p:sp>
        <p:nvSpPr>
          <p:cNvPr id="29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9089383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 defTabSz="1219169">
              <a:lnSpc>
                <a:spcPct val="100000"/>
              </a:lnSpc>
              <a:spcBef>
                <a:spcPts val="1200"/>
              </a:spcBef>
              <a:buSzTx/>
              <a:buFontTx/>
              <a:buNone/>
              <a:defRPr sz="5300">
                <a:latin typeface="Arial"/>
                <a:ea typeface="Arial"/>
                <a:cs typeface="Arial"/>
                <a:sym typeface="Arial"/>
              </a:defRPr>
            </a:lvl1pPr>
            <a:lvl2pPr marL="1155327" indent="-545742" algn="ctr" defTabSz="1219169">
              <a:lnSpc>
                <a:spcPct val="100000"/>
              </a:lnSpc>
              <a:spcBef>
                <a:spcPts val="1200"/>
              </a:spcBef>
              <a:buFontTx/>
              <a:buChar char="–"/>
              <a:defRPr sz="5300">
                <a:latin typeface="Arial"/>
                <a:ea typeface="Arial"/>
                <a:cs typeface="Arial"/>
                <a:sym typeface="Arial"/>
              </a:defRPr>
            </a:lvl2pPr>
            <a:lvl3pPr marL="1723981" indent="-504811" algn="ctr" defTabSz="1219169">
              <a:lnSpc>
                <a:spcPct val="100000"/>
              </a:lnSpc>
              <a:spcBef>
                <a:spcPts val="1200"/>
              </a:spcBef>
              <a:buFontTx/>
              <a:defRPr sz="5300">
                <a:latin typeface="Arial"/>
                <a:ea typeface="Arial"/>
                <a:cs typeface="Arial"/>
                <a:sym typeface="Arial"/>
              </a:defRPr>
            </a:lvl3pPr>
            <a:lvl4pPr marL="2450061" indent="-621306" algn="ctr" defTabSz="1219169">
              <a:lnSpc>
                <a:spcPct val="100000"/>
              </a:lnSpc>
              <a:spcBef>
                <a:spcPts val="1200"/>
              </a:spcBef>
              <a:buFontTx/>
              <a:buChar char="–"/>
              <a:defRPr sz="5300">
                <a:latin typeface="Arial"/>
                <a:ea typeface="Arial"/>
                <a:cs typeface="Arial"/>
                <a:sym typeface="Arial"/>
              </a:defRPr>
            </a:lvl4pPr>
            <a:lvl5pPr marL="3059645" indent="-621306" algn="ctr" defTabSz="1219169">
              <a:lnSpc>
                <a:spcPct val="100000"/>
              </a:lnSpc>
              <a:spcBef>
                <a:spcPts val="1200"/>
              </a:spcBef>
              <a:buFontTx/>
              <a:buChar char="»"/>
              <a:defRPr sz="5300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ICON SETS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01" name="Rounded Rectangle 11"/>
          <p:cNvSpPr/>
          <p:nvPr/>
        </p:nvSpPr>
        <p:spPr>
          <a:xfrm>
            <a:off x="472011" y="1508786"/>
            <a:ext cx="3799788" cy="4865562"/>
          </a:xfrm>
          <a:prstGeom prst="roundRect">
            <a:avLst>
              <a:gd name="adj" fmla="val 3968"/>
            </a:avLst>
          </a:prstGeom>
          <a:solidFill>
            <a:srgbClr val="0DD2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2" name="Rounded Rectangle 14"/>
          <p:cNvSpPr/>
          <p:nvPr/>
        </p:nvSpPr>
        <p:spPr>
          <a:xfrm>
            <a:off x="709242" y="1796667"/>
            <a:ext cx="144694" cy="4320631"/>
          </a:xfrm>
          <a:prstGeom prst="roundRect">
            <a:avLst>
              <a:gd name="adj" fmla="val 50000"/>
            </a:avLst>
          </a:prstGeom>
          <a:solidFill>
            <a:srgbClr val="FFFFFF">
              <a:alpha val="41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3" name="Half Frame 15"/>
          <p:cNvSpPr/>
          <p:nvPr/>
        </p:nvSpPr>
        <p:spPr>
          <a:xfrm rot="5400000">
            <a:off x="3456856" y="1650935"/>
            <a:ext cx="669776" cy="6697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16475" y="5125"/>
                </a:lnTo>
                <a:lnTo>
                  <a:pt x="5323" y="5125"/>
                </a:lnTo>
                <a:lnTo>
                  <a:pt x="5323" y="16277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Retângulo 1"/>
          <p:cNvSpPr/>
          <p:nvPr/>
        </p:nvSpPr>
        <p:spPr>
          <a:xfrm>
            <a:off x="-829995" y="267286"/>
            <a:ext cx="365762" cy="309490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5" name="Retângulo 3"/>
          <p:cNvSpPr/>
          <p:nvPr/>
        </p:nvSpPr>
        <p:spPr>
          <a:xfrm>
            <a:off x="-829995" y="717451"/>
            <a:ext cx="365762" cy="309490"/>
          </a:xfrm>
          <a:prstGeom prst="rect">
            <a:avLst/>
          </a:prstGeom>
          <a:solidFill>
            <a:srgbClr val="CC235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6" name="Retângulo 4"/>
          <p:cNvSpPr/>
          <p:nvPr/>
        </p:nvSpPr>
        <p:spPr>
          <a:xfrm>
            <a:off x="-829995" y="1167617"/>
            <a:ext cx="365762" cy="309490"/>
          </a:xfrm>
          <a:prstGeom prst="rect">
            <a:avLst/>
          </a:prstGeom>
          <a:solidFill>
            <a:srgbClr val="CF859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7" name="Retângulo 5"/>
          <p:cNvSpPr/>
          <p:nvPr/>
        </p:nvSpPr>
        <p:spPr>
          <a:xfrm>
            <a:off x="-829995" y="1617784"/>
            <a:ext cx="365762" cy="309490"/>
          </a:xfrm>
          <a:prstGeom prst="rect">
            <a:avLst/>
          </a:prstGeom>
          <a:solidFill>
            <a:srgbClr val="E612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8" name="Retângulo 6"/>
          <p:cNvSpPr/>
          <p:nvPr/>
        </p:nvSpPr>
        <p:spPr>
          <a:xfrm>
            <a:off x="-829995" y="2067949"/>
            <a:ext cx="365762" cy="309490"/>
          </a:xfrm>
          <a:prstGeom prst="rect">
            <a:avLst/>
          </a:prstGeom>
          <a:solidFill>
            <a:srgbClr val="F7521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9" name="Retângulo 7"/>
          <p:cNvSpPr/>
          <p:nvPr/>
        </p:nvSpPr>
        <p:spPr>
          <a:xfrm>
            <a:off x="-829995" y="2518116"/>
            <a:ext cx="365762" cy="309490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0" name="Retângulo 8"/>
          <p:cNvSpPr/>
          <p:nvPr/>
        </p:nvSpPr>
        <p:spPr>
          <a:xfrm>
            <a:off x="-829995" y="2968281"/>
            <a:ext cx="365762" cy="309491"/>
          </a:xfrm>
          <a:prstGeom prst="rect">
            <a:avLst/>
          </a:prstGeom>
          <a:solidFill>
            <a:srgbClr val="FF00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1" name="Retângulo 9"/>
          <p:cNvSpPr/>
          <p:nvPr/>
        </p:nvSpPr>
        <p:spPr>
          <a:xfrm>
            <a:off x="-829995" y="3429000"/>
            <a:ext cx="365762" cy="309490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2" name="Retângulo 10"/>
          <p:cNvSpPr/>
          <p:nvPr/>
        </p:nvSpPr>
        <p:spPr>
          <a:xfrm>
            <a:off x="-829995" y="3856151"/>
            <a:ext cx="365762" cy="309490"/>
          </a:xfrm>
          <a:prstGeom prst="rect">
            <a:avLst/>
          </a:prstGeom>
          <a:solidFill>
            <a:srgbClr val="C3657B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3067356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7ABC21B2-CD72-4CC0-8E00-909D0C4130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33A"/>
          </a:solidFill>
          <a:ln>
            <a:solidFill>
              <a:srgbClr val="0203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8DBF7AA-4C54-6A08-C795-C855FBDB9E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54552" y="1820819"/>
            <a:ext cx="5162550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5529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Rectangle 11"/>
          <p:cNvSpPr/>
          <p:nvPr/>
        </p:nvSpPr>
        <p:spPr>
          <a:xfrm>
            <a:off x="3599722" y="2468894"/>
            <a:ext cx="8592278" cy="1920214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21" name="Rectangle 5"/>
          <p:cNvSpPr/>
          <p:nvPr/>
        </p:nvSpPr>
        <p:spPr>
          <a:xfrm>
            <a:off x="0" y="0"/>
            <a:ext cx="2159563" cy="6858000"/>
          </a:xfrm>
          <a:prstGeom prst="rect">
            <a:avLst/>
          </a:prstGeom>
          <a:gradFill>
            <a:gsLst>
              <a:gs pos="0">
                <a:srgbClr val="EBEBEB"/>
              </a:gs>
              <a:gs pos="42000">
                <a:srgbClr val="EFEFEF"/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22" name="Straight Arrow Connector 8"/>
          <p:cNvSpPr/>
          <p:nvPr/>
        </p:nvSpPr>
        <p:spPr>
          <a:xfrm>
            <a:off x="948994" y="6602899"/>
            <a:ext cx="11243007" cy="1"/>
          </a:xfrm>
          <a:prstGeom prst="line">
            <a:avLst/>
          </a:prstGeom>
          <a:ln w="12700">
            <a:solidFill>
              <a:srgbClr val="BC30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23" name="SECTION BREAK"/>
          <p:cNvSpPr txBox="1">
            <a:spLocks noGrp="1"/>
          </p:cNvSpPr>
          <p:nvPr>
            <p:ph type="title" hasCustomPrompt="1"/>
          </p:nvPr>
        </p:nvSpPr>
        <p:spPr>
          <a:xfrm>
            <a:off x="4175786" y="2977902"/>
            <a:ext cx="7296813" cy="533309"/>
          </a:xfrm>
          <a:prstGeom prst="rect">
            <a:avLst/>
          </a:prstGeom>
        </p:spPr>
        <p:txBody>
          <a:bodyPr/>
          <a:lstStyle>
            <a:lvl1pPr defTabSz="1219169">
              <a:lnSpc>
                <a:spcPct val="100000"/>
              </a:lnSpc>
              <a:defRPr sz="4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ECTION BREAK</a:t>
            </a:r>
          </a:p>
        </p:txBody>
      </p:sp>
      <p:sp>
        <p:nvSpPr>
          <p:cNvPr id="324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175786" y="3578447"/>
            <a:ext cx="7296813" cy="263476"/>
          </a:xfrm>
          <a:prstGeom prst="rect">
            <a:avLst/>
          </a:prstGeom>
        </p:spPr>
        <p:txBody>
          <a:bodyPr anchor="ctr"/>
          <a:lstStyle>
            <a:lvl1pPr marL="0" indent="0" defTabSz="1219169">
              <a:lnSpc>
                <a:spcPct val="100000"/>
              </a:lnSpc>
              <a:spcBef>
                <a:spcPts val="300"/>
              </a:spcBef>
              <a:buSzTx/>
              <a:buFontTx/>
              <a:buNone/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74337" indent="-164752" defTabSz="1219169">
              <a:lnSpc>
                <a:spcPct val="100000"/>
              </a:lnSpc>
              <a:spcBef>
                <a:spcPts val="300"/>
              </a:spcBef>
              <a:buFontTx/>
              <a:buChar char="–"/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65" indent="-152396" defTabSz="1219169">
              <a:lnSpc>
                <a:spcPct val="100000"/>
              </a:lnSpc>
              <a:spcBef>
                <a:spcPts val="300"/>
              </a:spcBef>
              <a:buFontTx/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16319" indent="-187564" defTabSz="1219169">
              <a:lnSpc>
                <a:spcPct val="100000"/>
              </a:lnSpc>
              <a:spcBef>
                <a:spcPts val="300"/>
              </a:spcBef>
              <a:buFontTx/>
              <a:buChar char="–"/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625903" indent="-187564" defTabSz="1219169">
              <a:lnSpc>
                <a:spcPct val="100000"/>
              </a:lnSpc>
              <a:spcBef>
                <a:spcPts val="300"/>
              </a:spcBef>
              <a:buFontTx/>
              <a:buChar char="»"/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Add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25" name="Straight Arrow Connector 12"/>
          <p:cNvSpPr/>
          <p:nvPr/>
        </p:nvSpPr>
        <p:spPr>
          <a:xfrm>
            <a:off x="0" y="260647"/>
            <a:ext cx="12192001" cy="1"/>
          </a:xfrm>
          <a:prstGeom prst="line">
            <a:avLst/>
          </a:prstGeom>
          <a:ln w="12700">
            <a:solidFill>
              <a:srgbClr val="BC30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26" name="Retângulo 3"/>
          <p:cNvSpPr/>
          <p:nvPr/>
        </p:nvSpPr>
        <p:spPr>
          <a:xfrm>
            <a:off x="-829995" y="267286"/>
            <a:ext cx="365762" cy="309490"/>
          </a:xfrm>
          <a:prstGeom prst="rect">
            <a:avLst/>
          </a:prstGeom>
          <a:solidFill>
            <a:srgbClr val="BC303C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27" name="Retângulo 4"/>
          <p:cNvSpPr/>
          <p:nvPr/>
        </p:nvSpPr>
        <p:spPr>
          <a:xfrm>
            <a:off x="-829995" y="717451"/>
            <a:ext cx="365762" cy="309490"/>
          </a:xfrm>
          <a:prstGeom prst="rect">
            <a:avLst/>
          </a:prstGeom>
          <a:solidFill>
            <a:srgbClr val="CC235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28" name="Retângulo 7"/>
          <p:cNvSpPr/>
          <p:nvPr/>
        </p:nvSpPr>
        <p:spPr>
          <a:xfrm>
            <a:off x="-829995" y="1167617"/>
            <a:ext cx="365762" cy="309490"/>
          </a:xfrm>
          <a:prstGeom prst="rect">
            <a:avLst/>
          </a:prstGeom>
          <a:solidFill>
            <a:srgbClr val="CF8596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29" name="Retângulo 9"/>
          <p:cNvSpPr/>
          <p:nvPr/>
        </p:nvSpPr>
        <p:spPr>
          <a:xfrm>
            <a:off x="-829995" y="1617784"/>
            <a:ext cx="365762" cy="309490"/>
          </a:xfrm>
          <a:prstGeom prst="rect">
            <a:avLst/>
          </a:prstGeom>
          <a:solidFill>
            <a:srgbClr val="E612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0" name="Retângulo 10"/>
          <p:cNvSpPr/>
          <p:nvPr/>
        </p:nvSpPr>
        <p:spPr>
          <a:xfrm>
            <a:off x="-829995" y="2067949"/>
            <a:ext cx="365762" cy="309490"/>
          </a:xfrm>
          <a:prstGeom prst="rect">
            <a:avLst/>
          </a:prstGeom>
          <a:solidFill>
            <a:srgbClr val="F7521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1" name="Retângulo 13"/>
          <p:cNvSpPr/>
          <p:nvPr/>
        </p:nvSpPr>
        <p:spPr>
          <a:xfrm>
            <a:off x="-829995" y="2518116"/>
            <a:ext cx="365762" cy="309490"/>
          </a:xfrm>
          <a:prstGeom prst="rect">
            <a:avLst/>
          </a:prstGeom>
          <a:solidFill>
            <a:srgbClr val="FF7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2" name="Retângulo 14"/>
          <p:cNvSpPr/>
          <p:nvPr/>
        </p:nvSpPr>
        <p:spPr>
          <a:xfrm>
            <a:off x="-829995" y="2968281"/>
            <a:ext cx="365762" cy="309491"/>
          </a:xfrm>
          <a:prstGeom prst="rect">
            <a:avLst/>
          </a:prstGeom>
          <a:solidFill>
            <a:srgbClr val="FF004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3" name="Retângulo 15"/>
          <p:cNvSpPr/>
          <p:nvPr/>
        </p:nvSpPr>
        <p:spPr>
          <a:xfrm>
            <a:off x="-829995" y="3429000"/>
            <a:ext cx="365762" cy="309490"/>
          </a:xfrm>
          <a:prstGeom prst="rect">
            <a:avLst/>
          </a:prstGeom>
          <a:solidFill>
            <a:srgbClr val="FFA500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36" name="Gráfico 16"/>
          <p:cNvGrpSpPr/>
          <p:nvPr/>
        </p:nvGrpSpPr>
        <p:grpSpPr>
          <a:xfrm>
            <a:off x="668258" y="6083458"/>
            <a:ext cx="561474" cy="562021"/>
            <a:chOff x="0" y="0"/>
            <a:chExt cx="561472" cy="562020"/>
          </a:xfrm>
        </p:grpSpPr>
        <p:sp>
          <p:nvSpPr>
            <p:cNvPr id="334" name="Forma Livre: Forma 19"/>
            <p:cNvSpPr/>
            <p:nvPr/>
          </p:nvSpPr>
          <p:spPr>
            <a:xfrm>
              <a:off x="0" y="-1"/>
              <a:ext cx="561474" cy="562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89" y="0"/>
                  </a:moveTo>
                  <a:cubicBezTo>
                    <a:pt x="4843" y="0"/>
                    <a:pt x="0" y="4843"/>
                    <a:pt x="0" y="10789"/>
                  </a:cubicBezTo>
                  <a:cubicBezTo>
                    <a:pt x="0" y="16757"/>
                    <a:pt x="4843" y="21600"/>
                    <a:pt x="10789" y="21600"/>
                  </a:cubicBezTo>
                  <a:cubicBezTo>
                    <a:pt x="16735" y="21600"/>
                    <a:pt x="21600" y="16757"/>
                    <a:pt x="21600" y="10789"/>
                  </a:cubicBezTo>
                  <a:cubicBezTo>
                    <a:pt x="21600" y="4843"/>
                    <a:pt x="16735" y="0"/>
                    <a:pt x="10789" y="0"/>
                  </a:cubicBezTo>
                  <a:close/>
                  <a:moveTo>
                    <a:pt x="18162" y="15892"/>
                  </a:moveTo>
                  <a:cubicBezTo>
                    <a:pt x="15805" y="16151"/>
                    <a:pt x="13254" y="16216"/>
                    <a:pt x="10789" y="16216"/>
                  </a:cubicBezTo>
                  <a:cubicBezTo>
                    <a:pt x="8324" y="16216"/>
                    <a:pt x="5773" y="16151"/>
                    <a:pt x="3395" y="15892"/>
                  </a:cubicBezTo>
                  <a:cubicBezTo>
                    <a:pt x="2724" y="15827"/>
                    <a:pt x="2378" y="15654"/>
                    <a:pt x="2292" y="14941"/>
                  </a:cubicBezTo>
                  <a:cubicBezTo>
                    <a:pt x="2162" y="13578"/>
                    <a:pt x="2162" y="12194"/>
                    <a:pt x="2162" y="10789"/>
                  </a:cubicBezTo>
                  <a:cubicBezTo>
                    <a:pt x="2162" y="9406"/>
                    <a:pt x="2162" y="8022"/>
                    <a:pt x="2292" y="6659"/>
                  </a:cubicBezTo>
                  <a:cubicBezTo>
                    <a:pt x="2378" y="5946"/>
                    <a:pt x="2724" y="5773"/>
                    <a:pt x="3395" y="5708"/>
                  </a:cubicBezTo>
                  <a:cubicBezTo>
                    <a:pt x="5773" y="5449"/>
                    <a:pt x="8324" y="5384"/>
                    <a:pt x="10789" y="5384"/>
                  </a:cubicBezTo>
                  <a:cubicBezTo>
                    <a:pt x="13254" y="5384"/>
                    <a:pt x="15805" y="5449"/>
                    <a:pt x="18162" y="5708"/>
                  </a:cubicBezTo>
                  <a:cubicBezTo>
                    <a:pt x="18854" y="5773"/>
                    <a:pt x="19200" y="5946"/>
                    <a:pt x="19286" y="6659"/>
                  </a:cubicBezTo>
                  <a:cubicBezTo>
                    <a:pt x="19394" y="8021"/>
                    <a:pt x="19394" y="9405"/>
                    <a:pt x="19394" y="10789"/>
                  </a:cubicBezTo>
                  <a:cubicBezTo>
                    <a:pt x="19394" y="12194"/>
                    <a:pt x="19394" y="13578"/>
                    <a:pt x="19286" y="14940"/>
                  </a:cubicBezTo>
                  <a:cubicBezTo>
                    <a:pt x="19200" y="15654"/>
                    <a:pt x="18854" y="15827"/>
                    <a:pt x="18162" y="15891"/>
                  </a:cubicBezTo>
                  <a:close/>
                </a:path>
              </a:pathLst>
            </a:custGeom>
            <a:solidFill>
              <a:srgbClr val="BC303C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Forma Livre: Forma 20"/>
            <p:cNvSpPr/>
            <p:nvPr/>
          </p:nvSpPr>
          <p:spPr>
            <a:xfrm>
              <a:off x="166919" y="167090"/>
              <a:ext cx="227057" cy="227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73"/>
                  </a:moveTo>
                  <a:cubicBezTo>
                    <a:pt x="0" y="4907"/>
                    <a:pt x="4705" y="0"/>
                    <a:pt x="10800" y="0"/>
                  </a:cubicBezTo>
                  <a:cubicBezTo>
                    <a:pt x="16895" y="0"/>
                    <a:pt x="21600" y="4907"/>
                    <a:pt x="21600" y="10773"/>
                  </a:cubicBezTo>
                  <a:cubicBezTo>
                    <a:pt x="21600" y="16693"/>
                    <a:pt x="16895" y="21600"/>
                    <a:pt x="10800" y="21600"/>
                  </a:cubicBezTo>
                  <a:cubicBezTo>
                    <a:pt x="4705" y="21600"/>
                    <a:pt x="0" y="16693"/>
                    <a:pt x="0" y="10773"/>
                  </a:cubicBezTo>
                  <a:close/>
                </a:path>
              </a:pathLst>
            </a:custGeom>
            <a:solidFill>
              <a:srgbClr val="BC303C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3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271584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Texto do Título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t>Texto do Título</a:t>
            </a:r>
          </a:p>
        </p:txBody>
      </p:sp>
      <p:sp>
        <p:nvSpPr>
          <p:cNvPr id="345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/>
            </a:lvl1pPr>
            <a:lvl2pPr marL="0" indent="457200" algn="ctr">
              <a:buSzTx/>
              <a:buFontTx/>
              <a:buNone/>
              <a:defRPr sz="2400"/>
            </a:lvl2pPr>
            <a:lvl3pPr marL="0" indent="914400" algn="ctr">
              <a:buSzTx/>
              <a:buFontTx/>
              <a:buNone/>
              <a:defRPr sz="2400"/>
            </a:lvl3pPr>
            <a:lvl4pPr marL="0" indent="1371600" algn="ctr">
              <a:buSzTx/>
              <a:buFontTx/>
              <a:buNone/>
              <a:defRPr sz="2400"/>
            </a:lvl4pPr>
            <a:lvl5pPr marL="0" indent="1828800" algn="ctr">
              <a:buSzTx/>
              <a:buFontTx/>
              <a:buNone/>
              <a:defRPr sz="24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46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2336701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Texto do Título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exto do Título</a:t>
            </a:r>
          </a:p>
        </p:txBody>
      </p:sp>
      <p:sp>
        <p:nvSpPr>
          <p:cNvPr id="363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64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6658356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Texto do Títul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72" name="Nível de Corpo Um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73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0146105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Texto do Título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81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i="1"/>
            </a:lvl1pPr>
            <a:lvl2pPr marL="0" indent="457200">
              <a:buSzTx/>
              <a:buFontTx/>
              <a:buNone/>
              <a:defRPr sz="2400" i="1"/>
            </a:lvl2pPr>
            <a:lvl3pPr marL="0" indent="914400">
              <a:buSzTx/>
              <a:buFontTx/>
              <a:buNone/>
              <a:defRPr sz="2400" i="1"/>
            </a:lvl3pPr>
            <a:lvl4pPr marL="0" indent="1371600">
              <a:buSzTx/>
              <a:buFontTx/>
              <a:buNone/>
              <a:defRPr sz="2400" i="1"/>
            </a:lvl4pPr>
            <a:lvl5pPr marL="0" indent="1828800">
              <a:buSzTx/>
              <a:buFontTx/>
              <a:buNone/>
              <a:defRPr sz="2400" i="1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82" name="Espaço Reservado para Texto 4"/>
          <p:cNvSpPr>
            <a:spLocks noGrp="1"/>
          </p:cNvSpPr>
          <p:nvPr>
            <p:ph type="body" sz="quarter" idx="21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2400" i="1"/>
            </a:pPr>
            <a:endParaRPr/>
          </a:p>
        </p:txBody>
      </p:sp>
      <p:sp>
        <p:nvSpPr>
          <p:cNvPr id="383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1069784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Texto do Títul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91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2197307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8675297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Texto do Título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exto do Título</a:t>
            </a:r>
          </a:p>
        </p:txBody>
      </p:sp>
      <p:sp>
        <p:nvSpPr>
          <p:cNvPr id="406" name="Nível de Corpo Um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07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839787" y="2057400"/>
            <a:ext cx="3932238" cy="381158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FontTx/>
              <a:buNone/>
              <a:defRPr sz="1600"/>
            </a:pPr>
            <a:endParaRPr/>
          </a:p>
        </p:txBody>
      </p:sp>
      <p:sp>
        <p:nvSpPr>
          <p:cNvPr id="408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2667283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Texto do Título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exto do Título</a:t>
            </a:r>
          </a:p>
        </p:txBody>
      </p:sp>
      <p:sp>
        <p:nvSpPr>
          <p:cNvPr id="416" name="Espaço Reservado para Imagem 2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17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18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3984463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Retângulo 1"/>
          <p:cNvSpPr/>
          <p:nvPr/>
        </p:nvSpPr>
        <p:spPr>
          <a:xfrm>
            <a:off x="0" y="-25499"/>
            <a:ext cx="12200750" cy="6908997"/>
          </a:xfrm>
          <a:prstGeom prst="rect">
            <a:avLst/>
          </a:prstGeom>
          <a:gradFill>
            <a:gsLst>
              <a:gs pos="0">
                <a:srgbClr val="7030A0"/>
              </a:gs>
              <a:gs pos="30000">
                <a:srgbClr val="401B5B"/>
              </a:gs>
              <a:gs pos="60000">
                <a:srgbClr val="2C123E"/>
              </a:gs>
            </a:gsLst>
            <a:lin ang="189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2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3378556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12144672" cy="1152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4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 Free PPT _ Click to add title</a:t>
            </a:r>
            <a:endParaRPr lang="ko-KR" altLang="en-US"/>
          </a:p>
        </p:txBody>
      </p:sp>
      <p:grpSp>
        <p:nvGrpSpPr>
          <p:cNvPr id="2" name="Gráfico 16">
            <a:extLst>
              <a:ext uri="{FF2B5EF4-FFF2-40B4-BE49-F238E27FC236}">
                <a16:creationId xmlns:a16="http://schemas.microsoft.com/office/drawing/2014/main" id="{B1F80639-29E9-116E-7694-25ED83C92F8E}"/>
              </a:ext>
            </a:extLst>
          </p:cNvPr>
          <p:cNvGrpSpPr/>
          <p:nvPr userDrawn="1"/>
        </p:nvGrpSpPr>
        <p:grpSpPr>
          <a:xfrm>
            <a:off x="11421581" y="354000"/>
            <a:ext cx="396000" cy="396000"/>
            <a:chOff x="763754" y="6309699"/>
            <a:chExt cx="332287" cy="332287"/>
          </a:xfrm>
          <a:solidFill>
            <a:srgbClr val="BC303C"/>
          </a:solidFill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8C407CAB-6201-B026-1F68-C3A924470E98}"/>
                </a:ext>
              </a:extLst>
            </p:cNvPr>
            <p:cNvSpPr/>
            <p:nvPr/>
          </p:nvSpPr>
          <p:spPr>
            <a:xfrm>
              <a:off x="763754" y="6309699"/>
              <a:ext cx="332287" cy="332287"/>
            </a:xfrm>
            <a:custGeom>
              <a:avLst/>
              <a:gdLst>
                <a:gd name="connsiteX0" fmla="*/ 165978 w 332287"/>
                <a:gd name="connsiteY0" fmla="*/ 0 h 332287"/>
                <a:gd name="connsiteX1" fmla="*/ 0 w 332287"/>
                <a:gd name="connsiteY1" fmla="*/ 165978 h 332287"/>
                <a:gd name="connsiteX2" fmla="*/ 165978 w 332287"/>
                <a:gd name="connsiteY2" fmla="*/ 332287 h 332287"/>
                <a:gd name="connsiteX3" fmla="*/ 332287 w 332287"/>
                <a:gd name="connsiteY3" fmla="*/ 165978 h 332287"/>
                <a:gd name="connsiteX4" fmla="*/ 165978 w 332287"/>
                <a:gd name="connsiteY4" fmla="*/ 0 h 332287"/>
                <a:gd name="connsiteX5" fmla="*/ 279401 w 332287"/>
                <a:gd name="connsiteY5" fmla="*/ 244478 h 332287"/>
                <a:gd name="connsiteX6" fmla="*/ 165978 w 332287"/>
                <a:gd name="connsiteY6" fmla="*/ 249466 h 332287"/>
                <a:gd name="connsiteX7" fmla="*/ 52220 w 332287"/>
                <a:gd name="connsiteY7" fmla="*/ 244478 h 332287"/>
                <a:gd name="connsiteX8" fmla="*/ 35254 w 332287"/>
                <a:gd name="connsiteY8" fmla="*/ 229841 h 332287"/>
                <a:gd name="connsiteX9" fmla="*/ 33261 w 332287"/>
                <a:gd name="connsiteY9" fmla="*/ 165978 h 332287"/>
                <a:gd name="connsiteX10" fmla="*/ 35254 w 332287"/>
                <a:gd name="connsiteY10" fmla="*/ 102446 h 332287"/>
                <a:gd name="connsiteX11" fmla="*/ 52220 w 332287"/>
                <a:gd name="connsiteY11" fmla="*/ 87809 h 332287"/>
                <a:gd name="connsiteX12" fmla="*/ 165974 w 332287"/>
                <a:gd name="connsiteY12" fmla="*/ 82821 h 332287"/>
                <a:gd name="connsiteX13" fmla="*/ 279397 w 332287"/>
                <a:gd name="connsiteY13" fmla="*/ 87809 h 332287"/>
                <a:gd name="connsiteX14" fmla="*/ 296693 w 332287"/>
                <a:gd name="connsiteY14" fmla="*/ 102442 h 332287"/>
                <a:gd name="connsiteX15" fmla="*/ 298356 w 332287"/>
                <a:gd name="connsiteY15" fmla="*/ 165974 h 332287"/>
                <a:gd name="connsiteX16" fmla="*/ 296693 w 332287"/>
                <a:gd name="connsiteY16" fmla="*/ 229836 h 332287"/>
                <a:gd name="connsiteX17" fmla="*/ 279397 w 332287"/>
                <a:gd name="connsiteY17" fmla="*/ 244469 h 332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32287" h="332287">
                  <a:moveTo>
                    <a:pt x="165978" y="0"/>
                  </a:moveTo>
                  <a:cubicBezTo>
                    <a:pt x="74509" y="0"/>
                    <a:pt x="0" y="74509"/>
                    <a:pt x="0" y="165978"/>
                  </a:cubicBezTo>
                  <a:cubicBezTo>
                    <a:pt x="0" y="257783"/>
                    <a:pt x="74509" y="332287"/>
                    <a:pt x="165978" y="332287"/>
                  </a:cubicBezTo>
                  <a:cubicBezTo>
                    <a:pt x="257448" y="332287"/>
                    <a:pt x="332287" y="257779"/>
                    <a:pt x="332287" y="165978"/>
                  </a:cubicBezTo>
                  <a:cubicBezTo>
                    <a:pt x="332287" y="74509"/>
                    <a:pt x="257448" y="0"/>
                    <a:pt x="165978" y="0"/>
                  </a:cubicBezTo>
                  <a:close/>
                  <a:moveTo>
                    <a:pt x="279401" y="244478"/>
                  </a:moveTo>
                  <a:cubicBezTo>
                    <a:pt x="243146" y="248469"/>
                    <a:pt x="203896" y="249466"/>
                    <a:pt x="165978" y="249466"/>
                  </a:cubicBezTo>
                  <a:cubicBezTo>
                    <a:pt x="128060" y="249466"/>
                    <a:pt x="88810" y="248469"/>
                    <a:pt x="52220" y="244478"/>
                  </a:cubicBezTo>
                  <a:cubicBezTo>
                    <a:pt x="41909" y="243481"/>
                    <a:pt x="36586" y="240818"/>
                    <a:pt x="35254" y="229841"/>
                  </a:cubicBezTo>
                  <a:cubicBezTo>
                    <a:pt x="33261" y="208884"/>
                    <a:pt x="33261" y="187596"/>
                    <a:pt x="33261" y="165978"/>
                  </a:cubicBezTo>
                  <a:cubicBezTo>
                    <a:pt x="33261" y="144691"/>
                    <a:pt x="33261" y="123403"/>
                    <a:pt x="35254" y="102446"/>
                  </a:cubicBezTo>
                  <a:cubicBezTo>
                    <a:pt x="36586" y="91470"/>
                    <a:pt x="41904" y="88811"/>
                    <a:pt x="52220" y="87809"/>
                  </a:cubicBezTo>
                  <a:cubicBezTo>
                    <a:pt x="88806" y="83818"/>
                    <a:pt x="128056" y="82821"/>
                    <a:pt x="165974" y="82821"/>
                  </a:cubicBezTo>
                  <a:cubicBezTo>
                    <a:pt x="203891" y="82821"/>
                    <a:pt x="243141" y="83818"/>
                    <a:pt x="279397" y="87809"/>
                  </a:cubicBezTo>
                  <a:cubicBezTo>
                    <a:pt x="290043" y="88806"/>
                    <a:pt x="295361" y="91470"/>
                    <a:pt x="296693" y="102442"/>
                  </a:cubicBezTo>
                  <a:cubicBezTo>
                    <a:pt x="298356" y="123399"/>
                    <a:pt x="298356" y="144686"/>
                    <a:pt x="298356" y="165974"/>
                  </a:cubicBezTo>
                  <a:cubicBezTo>
                    <a:pt x="298356" y="187592"/>
                    <a:pt x="298356" y="208879"/>
                    <a:pt x="296693" y="229836"/>
                  </a:cubicBezTo>
                  <a:cubicBezTo>
                    <a:pt x="295361" y="240813"/>
                    <a:pt x="290043" y="243472"/>
                    <a:pt x="279397" y="244469"/>
                  </a:cubicBezTo>
                  <a:close/>
                </a:path>
              </a:pathLst>
            </a:custGeom>
            <a:solidFill>
              <a:srgbClr val="BC303C"/>
            </a:solidFill>
            <a:ln w="4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AACA9B65-B064-8001-0132-435715478B90}"/>
                </a:ext>
              </a:extLst>
            </p:cNvPr>
            <p:cNvSpPr/>
            <p:nvPr/>
          </p:nvSpPr>
          <p:spPr>
            <a:xfrm>
              <a:off x="862539" y="6408489"/>
              <a:ext cx="134375" cy="134710"/>
            </a:xfrm>
            <a:custGeom>
              <a:avLst/>
              <a:gdLst>
                <a:gd name="connsiteX0" fmla="*/ 0 w 134375"/>
                <a:gd name="connsiteY0" fmla="*/ 67188 h 134710"/>
                <a:gd name="connsiteX1" fmla="*/ 67188 w 134375"/>
                <a:gd name="connsiteY1" fmla="*/ 0 h 134710"/>
                <a:gd name="connsiteX2" fmla="*/ 134375 w 134375"/>
                <a:gd name="connsiteY2" fmla="*/ 67188 h 134710"/>
                <a:gd name="connsiteX3" fmla="*/ 67188 w 134375"/>
                <a:gd name="connsiteY3" fmla="*/ 134711 h 134710"/>
                <a:gd name="connsiteX4" fmla="*/ 0 w 134375"/>
                <a:gd name="connsiteY4" fmla="*/ 67188 h 1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75" h="134710">
                  <a:moveTo>
                    <a:pt x="0" y="67188"/>
                  </a:moveTo>
                  <a:cubicBezTo>
                    <a:pt x="0" y="30602"/>
                    <a:pt x="29270" y="0"/>
                    <a:pt x="67188" y="0"/>
                  </a:cubicBezTo>
                  <a:cubicBezTo>
                    <a:pt x="105106" y="0"/>
                    <a:pt x="134375" y="30602"/>
                    <a:pt x="134375" y="67188"/>
                  </a:cubicBezTo>
                  <a:cubicBezTo>
                    <a:pt x="134375" y="104109"/>
                    <a:pt x="105106" y="134711"/>
                    <a:pt x="67188" y="134711"/>
                  </a:cubicBezTo>
                  <a:cubicBezTo>
                    <a:pt x="29270" y="134711"/>
                    <a:pt x="0" y="104109"/>
                    <a:pt x="0" y="67188"/>
                  </a:cubicBezTo>
                  <a:close/>
                </a:path>
              </a:pathLst>
            </a:custGeom>
            <a:solidFill>
              <a:srgbClr val="BC303C"/>
            </a:solidFill>
            <a:ln w="4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8824104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9198641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apa - Abertura - Título">
    <p:bg>
      <p:bgPr>
        <a:solidFill>
          <a:srgbClr val="D5D5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825" y="-142875"/>
            <a:ext cx="12458700" cy="7172325"/>
          </a:xfrm>
          <a:prstGeom prst="rect">
            <a:avLst/>
          </a:prstGeom>
          <a:ln w="12700">
            <a:miter lim="400000"/>
          </a:ln>
          <a:effectLst>
            <a:outerShdw blurRad="292100" dist="139700" dir="2700000" rotWithShape="0">
              <a:srgbClr val="333333">
                <a:alpha val="64999"/>
              </a:srgbClr>
            </a:outerShdw>
          </a:effectLst>
        </p:spPr>
      </p:pic>
      <p:pic>
        <p:nvPicPr>
          <p:cNvPr id="441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81" y="133659"/>
            <a:ext cx="322609" cy="313310"/>
          </a:xfrm>
          <a:prstGeom prst="rect">
            <a:avLst/>
          </a:prstGeom>
          <a:ln w="12700">
            <a:miter lim="400000"/>
          </a:ln>
        </p:spPr>
      </p:pic>
      <p:sp>
        <p:nvSpPr>
          <p:cNvPr id="442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60902" y="5052847"/>
            <a:ext cx="8786380" cy="1892826"/>
          </a:xfrm>
          <a:prstGeom prst="rect">
            <a:avLst/>
          </a:prstGeom>
        </p:spPr>
        <p:txBody>
          <a:bodyPr/>
          <a:lstStyle>
            <a:lvl1pPr marL="0" indent="0" defTabSz="1219168">
              <a:spcBef>
                <a:spcPts val="0"/>
              </a:spcBef>
              <a:buSzTx/>
              <a:buFontTx/>
              <a:buNone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1pPr>
            <a:lvl2pPr marL="1695450" indent="-123825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2pPr>
            <a:lvl3pPr marL="2400300" indent="-14859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3pPr>
            <a:lvl4pPr marL="3022600" indent="-16510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4pPr>
            <a:lvl5pPr marL="3479800" indent="-1651000" defTabSz="1219168">
              <a:spcBef>
                <a:spcPts val="0"/>
              </a:spcBef>
              <a:buFontTx/>
              <a:defRPr sz="13000">
                <a:solidFill>
                  <a:srgbClr val="FFFFFF"/>
                </a:solidFill>
                <a:latin typeface="Globotipo Rounded Light"/>
                <a:ea typeface="Globotipo Rounded Light"/>
                <a:cs typeface="Globotipo Rounded Light"/>
                <a:sym typeface="Globotipo Rounded Light"/>
              </a:defRPr>
            </a:lvl5pPr>
          </a:lstStyle>
          <a:p>
            <a:r>
              <a:t>título do doc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4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9252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528" y="339509"/>
            <a:ext cx="11573198" cy="724248"/>
          </a:xfrm>
          <a:prstGeom prst="rect">
            <a:avLst/>
          </a:prstGeom>
        </p:spPr>
        <p:txBody>
          <a:bodyPr anchor="ctr"/>
          <a:lstStyle>
            <a:lvl1pPr marL="0" indent="0" algn="ctr">
              <a:buSzTx/>
              <a:buFontTx/>
              <a:buNone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71550" indent="-51435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31619" indent="-617219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574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5146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BASIC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9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498042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Agenda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9885636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528" y="339509"/>
            <a:ext cx="11573198" cy="724248"/>
          </a:xfrm>
          <a:prstGeom prst="rect">
            <a:avLst/>
          </a:prstGeom>
        </p:spPr>
        <p:txBody>
          <a:bodyPr anchor="ctr"/>
          <a:lstStyle>
            <a:lvl1pPr marL="0" indent="0" algn="ctr">
              <a:buSzTx/>
              <a:buFontTx/>
              <a:buNone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71550" indent="-51435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31619" indent="-617219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574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5146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Our Team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74" name="평행 사변형 1"/>
          <p:cNvSpPr/>
          <p:nvPr/>
        </p:nvSpPr>
        <p:spPr>
          <a:xfrm>
            <a:off x="771524" y="1734280"/>
            <a:ext cx="7429105" cy="5123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4444" y="0"/>
                </a:lnTo>
                <a:lnTo>
                  <a:pt x="21600" y="0"/>
                </a:lnTo>
                <a:lnTo>
                  <a:pt x="7156" y="21600"/>
                </a:lnTo>
                <a:close/>
              </a:path>
            </a:pathLst>
          </a:cu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75" name="평행 사변형 3"/>
          <p:cNvSpPr/>
          <p:nvPr/>
        </p:nvSpPr>
        <p:spPr>
          <a:xfrm>
            <a:off x="5800725" y="-724246"/>
            <a:ext cx="7532259" cy="52390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4567" y="0"/>
                </a:lnTo>
                <a:lnTo>
                  <a:pt x="21600" y="0"/>
                </a:lnTo>
                <a:lnTo>
                  <a:pt x="7033" y="21600"/>
                </a:lnTo>
                <a:close/>
              </a:path>
            </a:pathLst>
          </a:custGeom>
          <a:solidFill>
            <a:srgbClr val="0AA6ED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76" name="그림 개체 틀 2"/>
          <p:cNvSpPr>
            <a:spLocks noGrp="1"/>
          </p:cNvSpPr>
          <p:nvPr>
            <p:ph type="pic" sz="quarter" idx="21"/>
          </p:nvPr>
        </p:nvSpPr>
        <p:spPr>
          <a:xfrm>
            <a:off x="4137586" y="1851249"/>
            <a:ext cx="3795623" cy="17070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77" name="그림 개체 틀 2"/>
          <p:cNvSpPr>
            <a:spLocks noGrp="1"/>
          </p:cNvSpPr>
          <p:nvPr>
            <p:ph type="pic" sz="quarter" idx="22"/>
          </p:nvPr>
        </p:nvSpPr>
        <p:spPr>
          <a:xfrm>
            <a:off x="6041533" y="2693546"/>
            <a:ext cx="3795622" cy="170700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78" name="평행 사변형 8"/>
          <p:cNvSpPr/>
          <p:nvPr/>
        </p:nvSpPr>
        <p:spPr>
          <a:xfrm>
            <a:off x="6219825" y="3435534"/>
            <a:ext cx="5779691" cy="34224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2402" y="0"/>
                </a:lnTo>
                <a:lnTo>
                  <a:pt x="21600" y="0"/>
                </a:lnTo>
                <a:lnTo>
                  <a:pt x="9198" y="21600"/>
                </a:lnTo>
                <a:close/>
              </a:path>
            </a:pathLst>
          </a:custGeom>
          <a:solidFill>
            <a:srgbClr val="875FD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79" name="그림 개체 틀 2"/>
          <p:cNvSpPr>
            <a:spLocks noGrp="1"/>
          </p:cNvSpPr>
          <p:nvPr>
            <p:ph type="pic" sz="quarter" idx="23"/>
          </p:nvPr>
        </p:nvSpPr>
        <p:spPr>
          <a:xfrm>
            <a:off x="7945477" y="3535841"/>
            <a:ext cx="3795622" cy="170700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3270320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그림 개체 틀 61"/>
          <p:cNvSpPr>
            <a:spLocks noGrp="1"/>
          </p:cNvSpPr>
          <p:nvPr>
            <p:ph type="pic" sz="half" idx="21"/>
          </p:nvPr>
        </p:nvSpPr>
        <p:spPr>
          <a:xfrm>
            <a:off x="6205954" y="982983"/>
            <a:ext cx="5161210" cy="48920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8" name="이등변 삼각형 2"/>
          <p:cNvSpPr/>
          <p:nvPr/>
        </p:nvSpPr>
        <p:spPr>
          <a:xfrm rot="20425887">
            <a:off x="6167670" y="258386"/>
            <a:ext cx="398155" cy="343238"/>
          </a:xfrm>
          <a:prstGeom prst="triangle">
            <a:avLst/>
          </a:prstGeom>
          <a:solidFill>
            <a:srgbClr val="125AC4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89" name="이등변 삼각형 3"/>
          <p:cNvSpPr/>
          <p:nvPr/>
        </p:nvSpPr>
        <p:spPr>
          <a:xfrm rot="1800000">
            <a:off x="6365533" y="1203768"/>
            <a:ext cx="514811" cy="443802"/>
          </a:xfrm>
          <a:prstGeom prst="triangle">
            <a:avLst/>
          </a:pr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90" name="이등변 삼각형 4"/>
          <p:cNvSpPr/>
          <p:nvPr/>
        </p:nvSpPr>
        <p:spPr>
          <a:xfrm rot="2436550">
            <a:off x="7017239" y="1316154"/>
            <a:ext cx="456811" cy="393803"/>
          </a:xfrm>
          <a:prstGeom prst="triangle">
            <a:avLst/>
          </a:pr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91" name="이등변 삼각형 5"/>
          <p:cNvSpPr/>
          <p:nvPr/>
        </p:nvSpPr>
        <p:spPr>
          <a:xfrm rot="890839">
            <a:off x="6648640" y="796619"/>
            <a:ext cx="392861" cy="338674"/>
          </a:xfrm>
          <a:prstGeom prst="triangle">
            <a:avLst/>
          </a:prstGeom>
          <a:solidFill>
            <a:srgbClr val="125AC4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92" name="이등변 삼각형 6"/>
          <p:cNvSpPr/>
          <p:nvPr/>
        </p:nvSpPr>
        <p:spPr>
          <a:xfrm rot="10800000">
            <a:off x="6267965" y="873730"/>
            <a:ext cx="290771" cy="250665"/>
          </a:xfrm>
          <a:prstGeom prst="triangle">
            <a:avLst/>
          </a:prstGeom>
          <a:solidFill>
            <a:srgbClr val="0AA6ED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9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4724804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4676866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Picture Placeholder 4"/>
          <p:cNvSpPr>
            <a:spLocks noGrp="1"/>
          </p:cNvSpPr>
          <p:nvPr>
            <p:ph type="pic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08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5498917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1813223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0" name="그룹 1"/>
          <p:cNvGrpSpPr/>
          <p:nvPr/>
        </p:nvGrpSpPr>
        <p:grpSpPr>
          <a:xfrm>
            <a:off x="555385" y="1772815"/>
            <a:ext cx="2644063" cy="4736918"/>
            <a:chOff x="0" y="0"/>
            <a:chExt cx="2644061" cy="4736917"/>
          </a:xfrm>
        </p:grpSpPr>
        <p:grpSp>
          <p:nvGrpSpPr>
            <p:cNvPr id="538" name="Group 1"/>
            <p:cNvGrpSpPr/>
            <p:nvPr/>
          </p:nvGrpSpPr>
          <p:grpSpPr>
            <a:xfrm>
              <a:off x="192721" y="0"/>
              <a:ext cx="2259691" cy="4506900"/>
              <a:chOff x="0" y="0"/>
              <a:chExt cx="2259690" cy="4506899"/>
            </a:xfrm>
          </p:grpSpPr>
          <p:sp>
            <p:nvSpPr>
              <p:cNvPr id="522" name="Graphic 2"/>
              <p:cNvSpPr/>
              <p:nvPr/>
            </p:nvSpPr>
            <p:spPr>
              <a:xfrm>
                <a:off x="3723" y="0"/>
                <a:ext cx="2252169" cy="45069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749" y="21600"/>
                    </a:moveTo>
                    <a:lnTo>
                      <a:pt x="2851" y="21600"/>
                    </a:lnTo>
                    <a:cubicBezTo>
                      <a:pt x="1277" y="21600"/>
                      <a:pt x="0" y="20969"/>
                      <a:pt x="0" y="20192"/>
                    </a:cubicBezTo>
                    <a:lnTo>
                      <a:pt x="0" y="1408"/>
                    </a:lnTo>
                    <a:cubicBezTo>
                      <a:pt x="0" y="631"/>
                      <a:pt x="1277" y="0"/>
                      <a:pt x="2851" y="0"/>
                    </a:cubicBezTo>
                    <a:lnTo>
                      <a:pt x="18749" y="0"/>
                    </a:lnTo>
                    <a:cubicBezTo>
                      <a:pt x="20323" y="0"/>
                      <a:pt x="21600" y="631"/>
                      <a:pt x="21600" y="1408"/>
                    </a:cubicBezTo>
                    <a:lnTo>
                      <a:pt x="21600" y="20192"/>
                    </a:lnTo>
                    <a:cubicBezTo>
                      <a:pt x="21600" y="20969"/>
                      <a:pt x="20323" y="21600"/>
                      <a:pt x="18749" y="21600"/>
                    </a:cubicBezTo>
                    <a:close/>
                  </a:path>
                </a:pathLst>
              </a:custGeom>
              <a:solidFill>
                <a:srgbClr val="D0D4D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3" name="Graphic 2"/>
              <p:cNvSpPr/>
              <p:nvPr/>
            </p:nvSpPr>
            <p:spPr>
              <a:xfrm>
                <a:off x="33898" y="23638"/>
                <a:ext cx="2191819" cy="445957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79" y="21600"/>
                    </a:moveTo>
                    <a:lnTo>
                      <a:pt x="2922" y="21600"/>
                    </a:lnTo>
                    <a:cubicBezTo>
                      <a:pt x="1308" y="21600"/>
                      <a:pt x="0" y="20963"/>
                      <a:pt x="0" y="20177"/>
                    </a:cubicBezTo>
                    <a:lnTo>
                      <a:pt x="0" y="1423"/>
                    </a:lnTo>
                    <a:cubicBezTo>
                      <a:pt x="0" y="637"/>
                      <a:pt x="1308" y="0"/>
                      <a:pt x="2922" y="0"/>
                    </a:cubicBezTo>
                    <a:lnTo>
                      <a:pt x="18678" y="0"/>
                    </a:lnTo>
                    <a:cubicBezTo>
                      <a:pt x="20292" y="0"/>
                      <a:pt x="21600" y="637"/>
                      <a:pt x="21600" y="1423"/>
                    </a:cubicBezTo>
                    <a:lnTo>
                      <a:pt x="21600" y="20177"/>
                    </a:lnTo>
                    <a:cubicBezTo>
                      <a:pt x="21600" y="20963"/>
                      <a:pt x="20292" y="21600"/>
                      <a:pt x="18679" y="21600"/>
                    </a:cubicBezTo>
                    <a:close/>
                  </a:path>
                </a:pathLst>
              </a:custGeom>
              <a:solidFill>
                <a:srgbClr val="0708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4" name="Graphic 2"/>
              <p:cNvSpPr/>
              <p:nvPr/>
            </p:nvSpPr>
            <p:spPr>
              <a:xfrm>
                <a:off x="626" y="641110"/>
                <a:ext cx="15759" cy="1535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652" y="21600"/>
                    </a:moveTo>
                    <a:lnTo>
                      <a:pt x="0" y="21600"/>
                    </a:lnTo>
                    <a:lnTo>
                      <a:pt x="0" y="0"/>
                    </a:lnTo>
                    <a:lnTo>
                      <a:pt x="13652" y="0"/>
                    </a:lnTo>
                    <a:cubicBezTo>
                      <a:pt x="18020" y="0"/>
                      <a:pt x="21600" y="367"/>
                      <a:pt x="21600" y="816"/>
                    </a:cubicBezTo>
                    <a:lnTo>
                      <a:pt x="21600" y="20778"/>
                    </a:lnTo>
                    <a:cubicBezTo>
                      <a:pt x="21600" y="21233"/>
                      <a:pt x="18020" y="21600"/>
                      <a:pt x="13652" y="21600"/>
                    </a:cubicBezTo>
                    <a:close/>
                  </a:path>
                </a:pathLst>
              </a:custGeom>
              <a:solidFill>
                <a:srgbClr val="36455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5" name="Graphic 2"/>
              <p:cNvSpPr/>
              <p:nvPr/>
            </p:nvSpPr>
            <p:spPr>
              <a:xfrm>
                <a:off x="626" y="970586"/>
                <a:ext cx="22000" cy="30627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906" y="21600"/>
                    </a:moveTo>
                    <a:lnTo>
                      <a:pt x="6519" y="21600"/>
                    </a:lnTo>
                    <a:cubicBezTo>
                      <a:pt x="2912" y="21600"/>
                      <a:pt x="0" y="21391"/>
                      <a:pt x="0" y="21132"/>
                    </a:cubicBezTo>
                    <a:lnTo>
                      <a:pt x="0" y="468"/>
                    </a:lnTo>
                    <a:cubicBezTo>
                      <a:pt x="0" y="209"/>
                      <a:pt x="2912" y="0"/>
                      <a:pt x="6519" y="0"/>
                    </a:cubicBezTo>
                    <a:lnTo>
                      <a:pt x="15906" y="0"/>
                    </a:lnTo>
                    <a:cubicBezTo>
                      <a:pt x="19036" y="0"/>
                      <a:pt x="21600" y="184"/>
                      <a:pt x="21600" y="409"/>
                    </a:cubicBezTo>
                    <a:lnTo>
                      <a:pt x="21600" y="21188"/>
                    </a:lnTo>
                    <a:cubicBezTo>
                      <a:pt x="21600" y="21416"/>
                      <a:pt x="19036" y="21600"/>
                      <a:pt x="15906" y="21600"/>
                    </a:cubicBezTo>
                    <a:close/>
                  </a:path>
                </a:pathLst>
              </a:custGeom>
              <a:solidFill>
                <a:srgbClr val="36455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6" name="Graphic 2"/>
              <p:cNvSpPr/>
              <p:nvPr/>
            </p:nvSpPr>
            <p:spPr>
              <a:xfrm>
                <a:off x="539" y="992585"/>
                <a:ext cx="12701" cy="25648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139" y="21600"/>
                    </a:moveTo>
                    <a:lnTo>
                      <a:pt x="2152" y="21600"/>
                    </a:lnTo>
                    <a:cubicBezTo>
                      <a:pt x="922" y="21600"/>
                      <a:pt x="0" y="21552"/>
                      <a:pt x="0" y="21496"/>
                    </a:cubicBezTo>
                    <a:lnTo>
                      <a:pt x="0" y="104"/>
                    </a:lnTo>
                    <a:cubicBezTo>
                      <a:pt x="0" y="45"/>
                      <a:pt x="1000" y="0"/>
                      <a:pt x="2152" y="0"/>
                    </a:cubicBezTo>
                    <a:lnTo>
                      <a:pt x="20139" y="0"/>
                    </a:lnTo>
                    <a:cubicBezTo>
                      <a:pt x="20909" y="0"/>
                      <a:pt x="21600" y="30"/>
                      <a:pt x="21600" y="71"/>
                    </a:cubicBezTo>
                    <a:lnTo>
                      <a:pt x="21600" y="21529"/>
                    </a:lnTo>
                    <a:cubicBezTo>
                      <a:pt x="21600" y="21570"/>
                      <a:pt x="20909" y="21600"/>
                      <a:pt x="20139" y="21600"/>
                    </a:cubicBezTo>
                    <a:close/>
                  </a:path>
                </a:pathLst>
              </a:custGeom>
              <a:solidFill>
                <a:srgbClr val="FAFD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7" name="Graphic 2"/>
              <p:cNvSpPr/>
              <p:nvPr/>
            </p:nvSpPr>
            <p:spPr>
              <a:xfrm>
                <a:off x="228" y="1379563"/>
                <a:ext cx="22000" cy="30628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906" y="21600"/>
                    </a:moveTo>
                    <a:lnTo>
                      <a:pt x="6519" y="21600"/>
                    </a:lnTo>
                    <a:cubicBezTo>
                      <a:pt x="2912" y="21600"/>
                      <a:pt x="0" y="21391"/>
                      <a:pt x="0" y="21132"/>
                    </a:cubicBezTo>
                    <a:lnTo>
                      <a:pt x="0" y="468"/>
                    </a:lnTo>
                    <a:cubicBezTo>
                      <a:pt x="0" y="209"/>
                      <a:pt x="2912" y="0"/>
                      <a:pt x="6519" y="0"/>
                    </a:cubicBezTo>
                    <a:lnTo>
                      <a:pt x="15906" y="0"/>
                    </a:lnTo>
                    <a:cubicBezTo>
                      <a:pt x="19036" y="0"/>
                      <a:pt x="21600" y="184"/>
                      <a:pt x="21600" y="409"/>
                    </a:cubicBezTo>
                    <a:lnTo>
                      <a:pt x="21600" y="21188"/>
                    </a:lnTo>
                    <a:cubicBezTo>
                      <a:pt x="21600" y="21419"/>
                      <a:pt x="19036" y="21600"/>
                      <a:pt x="15906" y="21600"/>
                    </a:cubicBezTo>
                    <a:close/>
                  </a:path>
                </a:pathLst>
              </a:custGeom>
              <a:solidFill>
                <a:srgbClr val="36455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8" name="Graphic 2"/>
              <p:cNvSpPr/>
              <p:nvPr/>
            </p:nvSpPr>
            <p:spPr>
              <a:xfrm>
                <a:off x="97" y="1401563"/>
                <a:ext cx="12701" cy="2564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217" y="21600"/>
                    </a:moveTo>
                    <a:lnTo>
                      <a:pt x="2152" y="21600"/>
                    </a:lnTo>
                    <a:cubicBezTo>
                      <a:pt x="922" y="21600"/>
                      <a:pt x="0" y="21552"/>
                      <a:pt x="0" y="21496"/>
                    </a:cubicBezTo>
                    <a:lnTo>
                      <a:pt x="0" y="104"/>
                    </a:lnTo>
                    <a:cubicBezTo>
                      <a:pt x="0" y="45"/>
                      <a:pt x="1000" y="0"/>
                      <a:pt x="2152" y="0"/>
                    </a:cubicBezTo>
                    <a:lnTo>
                      <a:pt x="20139" y="0"/>
                    </a:lnTo>
                    <a:cubicBezTo>
                      <a:pt x="20909" y="0"/>
                      <a:pt x="21600" y="30"/>
                      <a:pt x="21600" y="71"/>
                    </a:cubicBezTo>
                    <a:lnTo>
                      <a:pt x="21600" y="21529"/>
                    </a:lnTo>
                    <a:cubicBezTo>
                      <a:pt x="21600" y="21570"/>
                      <a:pt x="20985" y="21600"/>
                      <a:pt x="20217" y="21600"/>
                    </a:cubicBezTo>
                    <a:close/>
                  </a:path>
                </a:pathLst>
              </a:custGeom>
              <a:solidFill>
                <a:srgbClr val="FAFD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29" name="Graphic 2"/>
              <p:cNvSpPr/>
              <p:nvPr/>
            </p:nvSpPr>
            <p:spPr>
              <a:xfrm>
                <a:off x="2236389" y="1073328"/>
                <a:ext cx="22001" cy="495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906" y="21600"/>
                    </a:moveTo>
                    <a:lnTo>
                      <a:pt x="6519" y="21600"/>
                    </a:lnTo>
                    <a:cubicBezTo>
                      <a:pt x="2912" y="21600"/>
                      <a:pt x="0" y="21471"/>
                      <a:pt x="0" y="21311"/>
                    </a:cubicBezTo>
                    <a:lnTo>
                      <a:pt x="0" y="289"/>
                    </a:lnTo>
                    <a:cubicBezTo>
                      <a:pt x="0" y="129"/>
                      <a:pt x="2912" y="0"/>
                      <a:pt x="6519" y="0"/>
                    </a:cubicBezTo>
                    <a:lnTo>
                      <a:pt x="15906" y="0"/>
                    </a:lnTo>
                    <a:cubicBezTo>
                      <a:pt x="19036" y="0"/>
                      <a:pt x="21600" y="114"/>
                      <a:pt x="21600" y="253"/>
                    </a:cubicBezTo>
                    <a:lnTo>
                      <a:pt x="21600" y="21347"/>
                    </a:lnTo>
                    <a:cubicBezTo>
                      <a:pt x="21600" y="21486"/>
                      <a:pt x="19036" y="21600"/>
                      <a:pt x="15906" y="21600"/>
                    </a:cubicBezTo>
                    <a:close/>
                  </a:path>
                </a:pathLst>
              </a:custGeom>
              <a:solidFill>
                <a:srgbClr val="8A909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0" name="Graphic 2"/>
              <p:cNvSpPr/>
              <p:nvPr/>
            </p:nvSpPr>
            <p:spPr>
              <a:xfrm>
                <a:off x="2245818" y="1108961"/>
                <a:ext cx="12701" cy="4150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139" y="21600"/>
                    </a:moveTo>
                    <a:lnTo>
                      <a:pt x="2152" y="21600"/>
                    </a:lnTo>
                    <a:cubicBezTo>
                      <a:pt x="922" y="21600"/>
                      <a:pt x="0" y="21570"/>
                      <a:pt x="0" y="21536"/>
                    </a:cubicBezTo>
                    <a:lnTo>
                      <a:pt x="0" y="64"/>
                    </a:lnTo>
                    <a:cubicBezTo>
                      <a:pt x="0" y="28"/>
                      <a:pt x="1000" y="0"/>
                      <a:pt x="2152" y="0"/>
                    </a:cubicBezTo>
                    <a:lnTo>
                      <a:pt x="20139" y="0"/>
                    </a:lnTo>
                    <a:cubicBezTo>
                      <a:pt x="20909" y="0"/>
                      <a:pt x="21600" y="18"/>
                      <a:pt x="21600" y="44"/>
                    </a:cubicBezTo>
                    <a:lnTo>
                      <a:pt x="21600" y="21559"/>
                    </a:lnTo>
                    <a:cubicBezTo>
                      <a:pt x="21524" y="21579"/>
                      <a:pt x="20909" y="21600"/>
                      <a:pt x="20139" y="21600"/>
                    </a:cubicBezTo>
                    <a:close/>
                  </a:path>
                </a:pathLst>
              </a:custGeom>
              <a:solidFill>
                <a:srgbClr val="4A4C4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1" name="Graphic 2"/>
              <p:cNvSpPr/>
              <p:nvPr/>
            </p:nvSpPr>
            <p:spPr>
              <a:xfrm>
                <a:off x="2240591" y="2110313"/>
                <a:ext cx="17796" cy="3397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561" y="21600"/>
                    </a:moveTo>
                    <a:lnTo>
                      <a:pt x="8060" y="21600"/>
                    </a:lnTo>
                    <a:cubicBezTo>
                      <a:pt x="3600" y="21600"/>
                      <a:pt x="0" y="21411"/>
                      <a:pt x="0" y="21178"/>
                    </a:cubicBezTo>
                    <a:lnTo>
                      <a:pt x="0" y="422"/>
                    </a:lnTo>
                    <a:cubicBezTo>
                      <a:pt x="0" y="189"/>
                      <a:pt x="3600" y="0"/>
                      <a:pt x="8060" y="0"/>
                    </a:cubicBezTo>
                    <a:lnTo>
                      <a:pt x="14561" y="0"/>
                    </a:lnTo>
                    <a:cubicBezTo>
                      <a:pt x="18430" y="0"/>
                      <a:pt x="21600" y="166"/>
                      <a:pt x="21600" y="369"/>
                    </a:cubicBezTo>
                    <a:lnTo>
                      <a:pt x="21600" y="21231"/>
                    </a:lnTo>
                    <a:cubicBezTo>
                      <a:pt x="21600" y="21434"/>
                      <a:pt x="18430" y="21600"/>
                      <a:pt x="14561" y="21600"/>
                    </a:cubicBezTo>
                    <a:close/>
                  </a:path>
                </a:pathLst>
              </a:custGeom>
              <a:solidFill>
                <a:srgbClr val="8A909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2" name="Graphic 2"/>
              <p:cNvSpPr/>
              <p:nvPr/>
            </p:nvSpPr>
            <p:spPr>
              <a:xfrm>
                <a:off x="2246990" y="2134703"/>
                <a:ext cx="12701" cy="2844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800" y="21600"/>
                    </a:moveTo>
                    <a:lnTo>
                      <a:pt x="2652" y="21600"/>
                    </a:lnTo>
                    <a:cubicBezTo>
                      <a:pt x="1136" y="21600"/>
                      <a:pt x="0" y="21556"/>
                      <a:pt x="0" y="21506"/>
                    </a:cubicBezTo>
                    <a:lnTo>
                      <a:pt x="0" y="94"/>
                    </a:lnTo>
                    <a:cubicBezTo>
                      <a:pt x="0" y="40"/>
                      <a:pt x="1232" y="0"/>
                      <a:pt x="2652" y="0"/>
                    </a:cubicBezTo>
                    <a:lnTo>
                      <a:pt x="19800" y="0"/>
                    </a:lnTo>
                    <a:cubicBezTo>
                      <a:pt x="20746" y="0"/>
                      <a:pt x="21600" y="27"/>
                      <a:pt x="21600" y="64"/>
                    </a:cubicBezTo>
                    <a:lnTo>
                      <a:pt x="21600" y="21539"/>
                    </a:lnTo>
                    <a:cubicBezTo>
                      <a:pt x="21600" y="21573"/>
                      <a:pt x="20842" y="21600"/>
                      <a:pt x="19800" y="21600"/>
                    </a:cubicBezTo>
                    <a:close/>
                  </a:path>
                </a:pathLst>
              </a:custGeom>
              <a:solidFill>
                <a:srgbClr val="4A4C4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3" name="Oval 216"/>
              <p:cNvSpPr/>
              <p:nvPr/>
            </p:nvSpPr>
            <p:spPr>
              <a:xfrm>
                <a:off x="1499463" y="92803"/>
                <a:ext cx="104757" cy="104757"/>
              </a:xfrm>
              <a:prstGeom prst="ellipse">
                <a:avLst/>
              </a:prstGeom>
              <a:solidFill>
                <a:srgbClr val="A6A6A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4" name="Oval 217"/>
              <p:cNvSpPr/>
              <p:nvPr/>
            </p:nvSpPr>
            <p:spPr>
              <a:xfrm>
                <a:off x="1506013" y="99350"/>
                <a:ext cx="91663" cy="91663"/>
              </a:xfrm>
              <a:prstGeom prst="ellipse">
                <a:avLst/>
              </a:prstGeom>
              <a:solidFill>
                <a:srgbClr val="0708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5" name="Oval 218"/>
              <p:cNvSpPr/>
              <p:nvPr/>
            </p:nvSpPr>
            <p:spPr>
              <a:xfrm>
                <a:off x="1529187" y="122528"/>
                <a:ext cx="45307" cy="45307"/>
              </a:xfrm>
              <a:prstGeom prst="ellipse">
                <a:avLst/>
              </a:prstGeom>
              <a:solidFill>
                <a:srgbClr val="26262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6" name="Oval 219"/>
              <p:cNvSpPr/>
              <p:nvPr/>
            </p:nvSpPr>
            <p:spPr>
              <a:xfrm>
                <a:off x="1539825" y="133164"/>
                <a:ext cx="24035" cy="24035"/>
              </a:xfrm>
              <a:prstGeom prst="ellipse">
                <a:avLst/>
              </a:prstGeom>
              <a:solidFill>
                <a:srgbClr val="08142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537" name="Graphic 2"/>
              <p:cNvSpPr/>
              <p:nvPr/>
            </p:nvSpPr>
            <p:spPr>
              <a:xfrm flipH="1">
                <a:off x="0" y="659414"/>
                <a:ext cx="12701" cy="1169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139" y="21600"/>
                    </a:moveTo>
                    <a:lnTo>
                      <a:pt x="2152" y="21600"/>
                    </a:lnTo>
                    <a:cubicBezTo>
                      <a:pt x="922" y="21600"/>
                      <a:pt x="0" y="21552"/>
                      <a:pt x="0" y="21496"/>
                    </a:cubicBezTo>
                    <a:lnTo>
                      <a:pt x="0" y="104"/>
                    </a:lnTo>
                    <a:cubicBezTo>
                      <a:pt x="0" y="45"/>
                      <a:pt x="1000" y="0"/>
                      <a:pt x="2152" y="0"/>
                    </a:cubicBezTo>
                    <a:lnTo>
                      <a:pt x="20139" y="0"/>
                    </a:lnTo>
                    <a:cubicBezTo>
                      <a:pt x="20909" y="0"/>
                      <a:pt x="21600" y="30"/>
                      <a:pt x="21600" y="71"/>
                    </a:cubicBezTo>
                    <a:lnTo>
                      <a:pt x="21600" y="21529"/>
                    </a:lnTo>
                    <a:cubicBezTo>
                      <a:pt x="21600" y="21570"/>
                      <a:pt x="20909" y="21600"/>
                      <a:pt x="20139" y="21600"/>
                    </a:cubicBezTo>
                    <a:close/>
                  </a:path>
                </a:pathLst>
              </a:custGeom>
              <a:solidFill>
                <a:srgbClr val="FAFD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  <p:sp>
          <p:nvSpPr>
            <p:cNvPr id="539" name="사다리꼴 3"/>
            <p:cNvSpPr/>
            <p:nvPr/>
          </p:nvSpPr>
          <p:spPr>
            <a:xfrm>
              <a:off x="-1" y="4313171"/>
              <a:ext cx="2644063" cy="4237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1230" y="0"/>
                  </a:lnTo>
                  <a:lnTo>
                    <a:pt x="2037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40404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541" name="그림 개체 틀 2"/>
          <p:cNvSpPr>
            <a:spLocks noGrp="1"/>
          </p:cNvSpPr>
          <p:nvPr>
            <p:ph type="pic" idx="21"/>
          </p:nvPr>
        </p:nvSpPr>
        <p:spPr>
          <a:xfrm>
            <a:off x="5591176" y="0"/>
            <a:ext cx="6605603" cy="686639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42" name="그림 개체 틀 21"/>
          <p:cNvSpPr>
            <a:spLocks noGrp="1"/>
          </p:cNvSpPr>
          <p:nvPr>
            <p:ph type="pic" sz="quarter" idx="22"/>
          </p:nvPr>
        </p:nvSpPr>
        <p:spPr>
          <a:xfrm>
            <a:off x="834694" y="1873256"/>
            <a:ext cx="2086441" cy="430601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43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528" y="339509"/>
            <a:ext cx="6249801" cy="724248"/>
          </a:xfrm>
          <a:prstGeom prst="rect">
            <a:avLst/>
          </a:prstGeom>
        </p:spPr>
        <p:txBody>
          <a:bodyPr anchor="ctr"/>
          <a:lstStyle>
            <a:lvl1pPr marL="0" indent="0">
              <a:buSzTx/>
              <a:buFontTx/>
              <a:buNone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71550" indent="-514350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31619" indent="-617219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57400" indent="-685800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514600" indent="-685800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BASIC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4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253706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2159561" cy="6858000"/>
          </a:xfrm>
          <a:prstGeom prst="rect">
            <a:avLst/>
          </a:prstGeom>
          <a:gradFill>
            <a:gsLst>
              <a:gs pos="42000">
                <a:srgbClr val="F6F6F6">
                  <a:lumMod val="97000"/>
                </a:srgbClr>
              </a:gs>
              <a:gs pos="0">
                <a:schemeClr val="bg1">
                  <a:lumMod val="92000"/>
                </a:schemeClr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12000" y="34314"/>
            <a:ext cx="10080000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Free PPT _ Click to add title</a:t>
            </a:r>
            <a:endParaRPr lang="ko-KR" altLang="en-US"/>
          </a:p>
        </p:txBody>
      </p:sp>
      <p:pic>
        <p:nvPicPr>
          <p:cNvPr id="8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27" y="4442899"/>
            <a:ext cx="1449935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 userDrawn="1"/>
        </p:nvCxnSpPr>
        <p:spPr>
          <a:xfrm>
            <a:off x="948995" y="6602899"/>
            <a:ext cx="11243005" cy="0"/>
          </a:xfrm>
          <a:prstGeom prst="straightConnector1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388434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7828163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그림 개체 틀 5"/>
          <p:cNvSpPr>
            <a:spLocks noGrp="1"/>
          </p:cNvSpPr>
          <p:nvPr>
            <p:ph type="pic" sz="half" idx="21"/>
          </p:nvPr>
        </p:nvSpPr>
        <p:spPr>
          <a:xfrm flipH="1">
            <a:off x="781175" y="764645"/>
            <a:ext cx="6174103" cy="532871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59" name="액자 2"/>
          <p:cNvSpPr/>
          <p:nvPr/>
        </p:nvSpPr>
        <p:spPr>
          <a:xfrm>
            <a:off x="1314787" y="1761845"/>
            <a:ext cx="10096039" cy="33343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  <a:moveTo>
                  <a:pt x="172" y="521"/>
                </a:moveTo>
                <a:lnTo>
                  <a:pt x="172" y="21079"/>
                </a:lnTo>
                <a:lnTo>
                  <a:pt x="21428" y="21079"/>
                </a:lnTo>
                <a:lnTo>
                  <a:pt x="21428" y="521"/>
                </a:lnTo>
                <a:close/>
              </a:path>
            </a:pathLst>
          </a:cu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11581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0633409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그림 개체 틀 26"/>
          <p:cNvSpPr>
            <a:spLocks noGrp="1"/>
          </p:cNvSpPr>
          <p:nvPr>
            <p:ph type="pic" idx="21"/>
          </p:nvPr>
        </p:nvSpPr>
        <p:spPr>
          <a:xfrm>
            <a:off x="2" y="0"/>
            <a:ext cx="9565169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75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706218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7329004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Rectangle 5"/>
          <p:cNvSpPr/>
          <p:nvPr/>
        </p:nvSpPr>
        <p:spPr>
          <a:xfrm>
            <a:off x="4439815" y="0"/>
            <a:ext cx="3312369" cy="6858000"/>
          </a:xfrm>
          <a:prstGeom prst="rect">
            <a:avLst/>
          </a:pr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608" name="Group 2"/>
          <p:cNvGrpSpPr/>
          <p:nvPr/>
        </p:nvGrpSpPr>
        <p:grpSpPr>
          <a:xfrm>
            <a:off x="4789978" y="1099366"/>
            <a:ext cx="2580892" cy="4655567"/>
            <a:chOff x="0" y="0"/>
            <a:chExt cx="2580890" cy="4655566"/>
          </a:xfrm>
        </p:grpSpPr>
        <p:sp>
          <p:nvSpPr>
            <p:cNvPr id="590" name="Graphic 2"/>
            <p:cNvSpPr/>
            <p:nvPr/>
          </p:nvSpPr>
          <p:spPr>
            <a:xfrm>
              <a:off x="3993" y="0"/>
              <a:ext cx="2573456" cy="46555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49" y="21600"/>
                  </a:moveTo>
                  <a:lnTo>
                    <a:pt x="2851" y="21600"/>
                  </a:lnTo>
                  <a:cubicBezTo>
                    <a:pt x="1277" y="21600"/>
                    <a:pt x="0" y="20969"/>
                    <a:pt x="0" y="20192"/>
                  </a:cubicBezTo>
                  <a:lnTo>
                    <a:pt x="0" y="1408"/>
                  </a:lnTo>
                  <a:cubicBezTo>
                    <a:pt x="0" y="631"/>
                    <a:pt x="1277" y="0"/>
                    <a:pt x="2851" y="0"/>
                  </a:cubicBezTo>
                  <a:lnTo>
                    <a:pt x="18749" y="0"/>
                  </a:lnTo>
                  <a:cubicBezTo>
                    <a:pt x="20323" y="0"/>
                    <a:pt x="21600" y="631"/>
                    <a:pt x="21600" y="1408"/>
                  </a:cubicBezTo>
                  <a:lnTo>
                    <a:pt x="21600" y="20192"/>
                  </a:lnTo>
                  <a:cubicBezTo>
                    <a:pt x="21600" y="20969"/>
                    <a:pt x="20323" y="21600"/>
                    <a:pt x="18749" y="21600"/>
                  </a:cubicBezTo>
                  <a:close/>
                </a:path>
              </a:pathLst>
            </a:custGeom>
            <a:solidFill>
              <a:srgbClr val="D0D4D8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1" name="Graphic 2"/>
            <p:cNvSpPr/>
            <p:nvPr/>
          </p:nvSpPr>
          <p:spPr>
            <a:xfrm>
              <a:off x="38474" y="24418"/>
              <a:ext cx="2504496" cy="4606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9" y="21600"/>
                  </a:moveTo>
                  <a:lnTo>
                    <a:pt x="2922" y="21600"/>
                  </a:lnTo>
                  <a:cubicBezTo>
                    <a:pt x="1308" y="21600"/>
                    <a:pt x="0" y="20963"/>
                    <a:pt x="0" y="20177"/>
                  </a:cubicBezTo>
                  <a:lnTo>
                    <a:pt x="0" y="1423"/>
                  </a:lnTo>
                  <a:cubicBezTo>
                    <a:pt x="0" y="637"/>
                    <a:pt x="1308" y="0"/>
                    <a:pt x="2922" y="0"/>
                  </a:cubicBezTo>
                  <a:lnTo>
                    <a:pt x="18678" y="0"/>
                  </a:lnTo>
                  <a:cubicBezTo>
                    <a:pt x="20292" y="0"/>
                    <a:pt x="21600" y="637"/>
                    <a:pt x="21600" y="1423"/>
                  </a:cubicBezTo>
                  <a:lnTo>
                    <a:pt x="21600" y="20177"/>
                  </a:lnTo>
                  <a:cubicBezTo>
                    <a:pt x="21600" y="20963"/>
                    <a:pt x="20292" y="21600"/>
                    <a:pt x="18679" y="21600"/>
                  </a:cubicBezTo>
                  <a:close/>
                </a:path>
              </a:pathLst>
            </a:custGeom>
            <a:solidFill>
              <a:srgbClr val="070808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2" name="Graphic 2"/>
            <p:cNvSpPr/>
            <p:nvPr/>
          </p:nvSpPr>
          <p:spPr>
            <a:xfrm>
              <a:off x="98678" y="103753"/>
              <a:ext cx="2384087" cy="4448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77" y="0"/>
                  </a:moveTo>
                  <a:lnTo>
                    <a:pt x="17123" y="0"/>
                  </a:lnTo>
                  <a:cubicBezTo>
                    <a:pt x="17012" y="0"/>
                    <a:pt x="16923" y="41"/>
                    <a:pt x="16923" y="91"/>
                  </a:cubicBezTo>
                  <a:cubicBezTo>
                    <a:pt x="16923" y="482"/>
                    <a:pt x="16233" y="799"/>
                    <a:pt x="15380" y="799"/>
                  </a:cubicBezTo>
                  <a:lnTo>
                    <a:pt x="6123" y="799"/>
                  </a:lnTo>
                  <a:cubicBezTo>
                    <a:pt x="5271" y="799"/>
                    <a:pt x="4580" y="483"/>
                    <a:pt x="4580" y="91"/>
                  </a:cubicBezTo>
                  <a:cubicBezTo>
                    <a:pt x="4580" y="41"/>
                    <a:pt x="4490" y="0"/>
                    <a:pt x="4381" y="0"/>
                  </a:cubicBezTo>
                  <a:lnTo>
                    <a:pt x="2323" y="0"/>
                  </a:lnTo>
                  <a:cubicBezTo>
                    <a:pt x="1040" y="0"/>
                    <a:pt x="0" y="477"/>
                    <a:pt x="0" y="1066"/>
                  </a:cubicBezTo>
                  <a:lnTo>
                    <a:pt x="0" y="20534"/>
                  </a:lnTo>
                  <a:cubicBezTo>
                    <a:pt x="0" y="21123"/>
                    <a:pt x="1040" y="21600"/>
                    <a:pt x="2323" y="21600"/>
                  </a:cubicBezTo>
                  <a:lnTo>
                    <a:pt x="19277" y="21600"/>
                  </a:lnTo>
                  <a:cubicBezTo>
                    <a:pt x="20560" y="21600"/>
                    <a:pt x="21600" y="21123"/>
                    <a:pt x="21600" y="20534"/>
                  </a:cubicBezTo>
                  <a:lnTo>
                    <a:pt x="21600" y="1066"/>
                  </a:lnTo>
                  <a:cubicBezTo>
                    <a:pt x="21600" y="477"/>
                    <a:pt x="20560" y="0"/>
                    <a:pt x="19277" y="0"/>
                  </a:cubicBez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3" name="Graphic 2"/>
            <p:cNvSpPr/>
            <p:nvPr/>
          </p:nvSpPr>
          <p:spPr>
            <a:xfrm>
              <a:off x="454" y="662257"/>
              <a:ext cx="18008" cy="1586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52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13652" y="0"/>
                  </a:lnTo>
                  <a:cubicBezTo>
                    <a:pt x="18020" y="0"/>
                    <a:pt x="21600" y="367"/>
                    <a:pt x="21600" y="816"/>
                  </a:cubicBezTo>
                  <a:lnTo>
                    <a:pt x="21600" y="20778"/>
                  </a:lnTo>
                  <a:cubicBezTo>
                    <a:pt x="21600" y="21233"/>
                    <a:pt x="18020" y="21600"/>
                    <a:pt x="13652" y="21600"/>
                  </a:cubicBezTo>
                  <a:close/>
                </a:path>
              </a:pathLst>
            </a:custGeom>
            <a:solidFill>
              <a:srgbClr val="36455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4" name="Graphic 2"/>
            <p:cNvSpPr/>
            <p:nvPr/>
          </p:nvSpPr>
          <p:spPr>
            <a:xfrm>
              <a:off x="455" y="1002601"/>
              <a:ext cx="25138" cy="3163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6" y="21600"/>
                  </a:moveTo>
                  <a:lnTo>
                    <a:pt x="6519" y="21600"/>
                  </a:lnTo>
                  <a:cubicBezTo>
                    <a:pt x="2912" y="21600"/>
                    <a:pt x="0" y="21391"/>
                    <a:pt x="0" y="21132"/>
                  </a:cubicBezTo>
                  <a:lnTo>
                    <a:pt x="0" y="468"/>
                  </a:lnTo>
                  <a:cubicBezTo>
                    <a:pt x="0" y="209"/>
                    <a:pt x="2912" y="0"/>
                    <a:pt x="6519" y="0"/>
                  </a:cubicBezTo>
                  <a:lnTo>
                    <a:pt x="15906" y="0"/>
                  </a:lnTo>
                  <a:cubicBezTo>
                    <a:pt x="19036" y="0"/>
                    <a:pt x="21600" y="184"/>
                    <a:pt x="21600" y="409"/>
                  </a:cubicBezTo>
                  <a:lnTo>
                    <a:pt x="21600" y="21188"/>
                  </a:lnTo>
                  <a:cubicBezTo>
                    <a:pt x="21600" y="21416"/>
                    <a:pt x="19036" y="21600"/>
                    <a:pt x="15906" y="21600"/>
                  </a:cubicBezTo>
                  <a:close/>
                </a:path>
              </a:pathLst>
            </a:custGeom>
            <a:solidFill>
              <a:srgbClr val="36455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5" name="Graphic 2"/>
            <p:cNvSpPr/>
            <p:nvPr/>
          </p:nvSpPr>
          <p:spPr>
            <a:xfrm>
              <a:off x="506" y="1025327"/>
              <a:ext cx="14214" cy="2649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39" y="21600"/>
                  </a:moveTo>
                  <a:lnTo>
                    <a:pt x="2152" y="21600"/>
                  </a:lnTo>
                  <a:cubicBezTo>
                    <a:pt x="922" y="21600"/>
                    <a:pt x="0" y="21552"/>
                    <a:pt x="0" y="21496"/>
                  </a:cubicBezTo>
                  <a:lnTo>
                    <a:pt x="0" y="104"/>
                  </a:lnTo>
                  <a:cubicBezTo>
                    <a:pt x="0" y="45"/>
                    <a:pt x="1000" y="0"/>
                    <a:pt x="2152" y="0"/>
                  </a:cubicBezTo>
                  <a:lnTo>
                    <a:pt x="20139" y="0"/>
                  </a:lnTo>
                  <a:cubicBezTo>
                    <a:pt x="20909" y="0"/>
                    <a:pt x="21600" y="30"/>
                    <a:pt x="21600" y="71"/>
                  </a:cubicBezTo>
                  <a:lnTo>
                    <a:pt x="21600" y="21529"/>
                  </a:lnTo>
                  <a:cubicBezTo>
                    <a:pt x="21600" y="21570"/>
                    <a:pt x="20909" y="21600"/>
                    <a:pt x="20139" y="21600"/>
                  </a:cubicBezTo>
                  <a:close/>
                </a:path>
              </a:pathLst>
            </a:custGeom>
            <a:solidFill>
              <a:srgbClr val="FAFD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6" name="Graphic 2"/>
            <p:cNvSpPr/>
            <p:nvPr/>
          </p:nvSpPr>
          <p:spPr>
            <a:xfrm>
              <a:off x="0" y="1425070"/>
              <a:ext cx="25138" cy="3163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6" y="21600"/>
                  </a:moveTo>
                  <a:lnTo>
                    <a:pt x="6519" y="21600"/>
                  </a:lnTo>
                  <a:cubicBezTo>
                    <a:pt x="2912" y="21600"/>
                    <a:pt x="0" y="21391"/>
                    <a:pt x="0" y="21132"/>
                  </a:cubicBezTo>
                  <a:lnTo>
                    <a:pt x="0" y="468"/>
                  </a:lnTo>
                  <a:cubicBezTo>
                    <a:pt x="0" y="209"/>
                    <a:pt x="2912" y="0"/>
                    <a:pt x="6519" y="0"/>
                  </a:cubicBezTo>
                  <a:lnTo>
                    <a:pt x="15906" y="0"/>
                  </a:lnTo>
                  <a:cubicBezTo>
                    <a:pt x="19036" y="0"/>
                    <a:pt x="21600" y="184"/>
                    <a:pt x="21600" y="409"/>
                  </a:cubicBezTo>
                  <a:lnTo>
                    <a:pt x="21600" y="21188"/>
                  </a:lnTo>
                  <a:cubicBezTo>
                    <a:pt x="21600" y="21419"/>
                    <a:pt x="19036" y="21600"/>
                    <a:pt x="15906" y="21600"/>
                  </a:cubicBezTo>
                  <a:close/>
                </a:path>
              </a:pathLst>
            </a:custGeom>
            <a:solidFill>
              <a:srgbClr val="36455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7" name="Graphic 2"/>
            <p:cNvSpPr/>
            <p:nvPr/>
          </p:nvSpPr>
          <p:spPr>
            <a:xfrm>
              <a:off x="0" y="1447796"/>
              <a:ext cx="14214" cy="2649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17" y="21600"/>
                  </a:moveTo>
                  <a:lnTo>
                    <a:pt x="2152" y="21600"/>
                  </a:lnTo>
                  <a:cubicBezTo>
                    <a:pt x="922" y="21600"/>
                    <a:pt x="0" y="21552"/>
                    <a:pt x="0" y="21496"/>
                  </a:cubicBezTo>
                  <a:lnTo>
                    <a:pt x="0" y="104"/>
                  </a:lnTo>
                  <a:cubicBezTo>
                    <a:pt x="0" y="45"/>
                    <a:pt x="1000" y="0"/>
                    <a:pt x="2152" y="0"/>
                  </a:cubicBezTo>
                  <a:lnTo>
                    <a:pt x="20139" y="0"/>
                  </a:lnTo>
                  <a:cubicBezTo>
                    <a:pt x="20909" y="0"/>
                    <a:pt x="21600" y="30"/>
                    <a:pt x="21600" y="71"/>
                  </a:cubicBezTo>
                  <a:lnTo>
                    <a:pt x="21600" y="21529"/>
                  </a:lnTo>
                  <a:cubicBezTo>
                    <a:pt x="21600" y="21570"/>
                    <a:pt x="20985" y="21600"/>
                    <a:pt x="20217" y="21600"/>
                  </a:cubicBezTo>
                  <a:close/>
                </a:path>
              </a:pathLst>
            </a:custGeom>
            <a:solidFill>
              <a:srgbClr val="FAFD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8" name="Graphic 2"/>
            <p:cNvSpPr/>
            <p:nvPr/>
          </p:nvSpPr>
          <p:spPr>
            <a:xfrm>
              <a:off x="2555169" y="1108732"/>
              <a:ext cx="25138" cy="5120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6" y="21600"/>
                  </a:moveTo>
                  <a:lnTo>
                    <a:pt x="6519" y="21600"/>
                  </a:lnTo>
                  <a:cubicBezTo>
                    <a:pt x="2912" y="21600"/>
                    <a:pt x="0" y="21471"/>
                    <a:pt x="0" y="21311"/>
                  </a:cubicBezTo>
                  <a:lnTo>
                    <a:pt x="0" y="289"/>
                  </a:lnTo>
                  <a:cubicBezTo>
                    <a:pt x="0" y="129"/>
                    <a:pt x="2912" y="0"/>
                    <a:pt x="6519" y="0"/>
                  </a:cubicBezTo>
                  <a:lnTo>
                    <a:pt x="15906" y="0"/>
                  </a:lnTo>
                  <a:cubicBezTo>
                    <a:pt x="19036" y="0"/>
                    <a:pt x="21600" y="114"/>
                    <a:pt x="21600" y="253"/>
                  </a:cubicBezTo>
                  <a:lnTo>
                    <a:pt x="21600" y="21347"/>
                  </a:lnTo>
                  <a:cubicBezTo>
                    <a:pt x="21600" y="21486"/>
                    <a:pt x="19036" y="21600"/>
                    <a:pt x="15906" y="21600"/>
                  </a:cubicBezTo>
                  <a:close/>
                </a:path>
              </a:pathLst>
            </a:custGeom>
            <a:solidFill>
              <a:srgbClr val="8A909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9" name="Graphic 2"/>
            <p:cNvSpPr/>
            <p:nvPr/>
          </p:nvSpPr>
          <p:spPr>
            <a:xfrm>
              <a:off x="2566092" y="1145541"/>
              <a:ext cx="14214" cy="42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39" y="21600"/>
                  </a:moveTo>
                  <a:lnTo>
                    <a:pt x="2152" y="21600"/>
                  </a:lnTo>
                  <a:cubicBezTo>
                    <a:pt x="922" y="21600"/>
                    <a:pt x="0" y="21570"/>
                    <a:pt x="0" y="21536"/>
                  </a:cubicBezTo>
                  <a:lnTo>
                    <a:pt x="0" y="64"/>
                  </a:lnTo>
                  <a:cubicBezTo>
                    <a:pt x="0" y="28"/>
                    <a:pt x="1000" y="0"/>
                    <a:pt x="2152" y="0"/>
                  </a:cubicBezTo>
                  <a:lnTo>
                    <a:pt x="20139" y="0"/>
                  </a:lnTo>
                  <a:cubicBezTo>
                    <a:pt x="20909" y="0"/>
                    <a:pt x="21600" y="18"/>
                    <a:pt x="21600" y="44"/>
                  </a:cubicBezTo>
                  <a:lnTo>
                    <a:pt x="21600" y="21559"/>
                  </a:lnTo>
                  <a:cubicBezTo>
                    <a:pt x="21524" y="21579"/>
                    <a:pt x="20909" y="21600"/>
                    <a:pt x="20139" y="21600"/>
                  </a:cubicBezTo>
                  <a:close/>
                </a:path>
              </a:pathLst>
            </a:custGeom>
            <a:solidFill>
              <a:srgbClr val="4A4C4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00" name="Graphic 2"/>
            <p:cNvSpPr/>
            <p:nvPr/>
          </p:nvSpPr>
          <p:spPr>
            <a:xfrm>
              <a:off x="2559973" y="2179925"/>
              <a:ext cx="20334" cy="3509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61" y="21600"/>
                  </a:moveTo>
                  <a:lnTo>
                    <a:pt x="8060" y="21600"/>
                  </a:lnTo>
                  <a:cubicBezTo>
                    <a:pt x="3600" y="21600"/>
                    <a:pt x="0" y="21411"/>
                    <a:pt x="0" y="21178"/>
                  </a:cubicBezTo>
                  <a:lnTo>
                    <a:pt x="0" y="422"/>
                  </a:lnTo>
                  <a:cubicBezTo>
                    <a:pt x="0" y="189"/>
                    <a:pt x="3600" y="0"/>
                    <a:pt x="8060" y="0"/>
                  </a:cubicBezTo>
                  <a:lnTo>
                    <a:pt x="14561" y="0"/>
                  </a:lnTo>
                  <a:cubicBezTo>
                    <a:pt x="18430" y="0"/>
                    <a:pt x="21600" y="166"/>
                    <a:pt x="21600" y="369"/>
                  </a:cubicBezTo>
                  <a:lnTo>
                    <a:pt x="21600" y="21231"/>
                  </a:lnTo>
                  <a:cubicBezTo>
                    <a:pt x="21600" y="21434"/>
                    <a:pt x="18430" y="21600"/>
                    <a:pt x="14561" y="21600"/>
                  </a:cubicBezTo>
                  <a:close/>
                </a:path>
              </a:pathLst>
            </a:custGeom>
            <a:solidFill>
              <a:srgbClr val="8A909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01" name="Graphic 2"/>
            <p:cNvSpPr/>
            <p:nvPr/>
          </p:nvSpPr>
          <p:spPr>
            <a:xfrm>
              <a:off x="2568190" y="2205120"/>
              <a:ext cx="12701" cy="2938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21600"/>
                  </a:moveTo>
                  <a:lnTo>
                    <a:pt x="2652" y="21600"/>
                  </a:lnTo>
                  <a:cubicBezTo>
                    <a:pt x="1136" y="21600"/>
                    <a:pt x="0" y="21556"/>
                    <a:pt x="0" y="21506"/>
                  </a:cubicBezTo>
                  <a:lnTo>
                    <a:pt x="0" y="94"/>
                  </a:lnTo>
                  <a:cubicBezTo>
                    <a:pt x="0" y="40"/>
                    <a:pt x="1232" y="0"/>
                    <a:pt x="2652" y="0"/>
                  </a:cubicBezTo>
                  <a:lnTo>
                    <a:pt x="19800" y="0"/>
                  </a:lnTo>
                  <a:cubicBezTo>
                    <a:pt x="20746" y="0"/>
                    <a:pt x="21600" y="27"/>
                    <a:pt x="21600" y="64"/>
                  </a:cubicBezTo>
                  <a:lnTo>
                    <a:pt x="21600" y="21539"/>
                  </a:lnTo>
                  <a:cubicBezTo>
                    <a:pt x="21600" y="21573"/>
                    <a:pt x="20842" y="21600"/>
                    <a:pt x="19800" y="21600"/>
                  </a:cubicBezTo>
                  <a:close/>
                </a:path>
              </a:pathLst>
            </a:custGeom>
            <a:solidFill>
              <a:srgbClr val="4A4C4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grpSp>
          <p:nvGrpSpPr>
            <p:cNvPr id="606" name="Group 1"/>
            <p:cNvGrpSpPr/>
            <p:nvPr/>
          </p:nvGrpSpPr>
          <p:grpSpPr>
            <a:xfrm>
              <a:off x="1713121" y="79291"/>
              <a:ext cx="131099" cy="134445"/>
              <a:chOff x="0" y="0"/>
              <a:chExt cx="131098" cy="134443"/>
            </a:xfrm>
          </p:grpSpPr>
          <p:sp>
            <p:nvSpPr>
              <p:cNvPr id="602" name="Oval 26"/>
              <p:cNvSpPr/>
              <p:nvPr/>
            </p:nvSpPr>
            <p:spPr>
              <a:xfrm>
                <a:off x="-1" y="0"/>
                <a:ext cx="131100" cy="134444"/>
              </a:xfrm>
              <a:prstGeom prst="ellipse">
                <a:avLst/>
              </a:prstGeom>
              <a:solidFill>
                <a:srgbClr val="A6A6A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603" name="Oval 27"/>
              <p:cNvSpPr/>
              <p:nvPr/>
            </p:nvSpPr>
            <p:spPr>
              <a:xfrm>
                <a:off x="8194" y="8402"/>
                <a:ext cx="114711" cy="117639"/>
              </a:xfrm>
              <a:prstGeom prst="ellipse">
                <a:avLst/>
              </a:prstGeom>
              <a:solidFill>
                <a:srgbClr val="0708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604" name="Oval 28"/>
              <p:cNvSpPr/>
              <p:nvPr/>
            </p:nvSpPr>
            <p:spPr>
              <a:xfrm>
                <a:off x="37199" y="38147"/>
                <a:ext cx="56699" cy="58147"/>
              </a:xfrm>
              <a:prstGeom prst="ellipse">
                <a:avLst/>
              </a:prstGeom>
              <a:solidFill>
                <a:srgbClr val="26262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605" name="Oval 29"/>
              <p:cNvSpPr/>
              <p:nvPr/>
            </p:nvSpPr>
            <p:spPr>
              <a:xfrm>
                <a:off x="50511" y="51800"/>
                <a:ext cx="30079" cy="30847"/>
              </a:xfrm>
              <a:prstGeom prst="ellipse">
                <a:avLst/>
              </a:prstGeom>
              <a:solidFill>
                <a:srgbClr val="08142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  <p:sp>
          <p:nvSpPr>
            <p:cNvPr id="607" name="Graphic 2"/>
            <p:cNvSpPr/>
            <p:nvPr/>
          </p:nvSpPr>
          <p:spPr>
            <a:xfrm flipH="1">
              <a:off x="671" y="681168"/>
              <a:ext cx="12701" cy="120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39" y="21600"/>
                  </a:moveTo>
                  <a:lnTo>
                    <a:pt x="2152" y="21600"/>
                  </a:lnTo>
                  <a:cubicBezTo>
                    <a:pt x="922" y="21600"/>
                    <a:pt x="0" y="21552"/>
                    <a:pt x="0" y="21496"/>
                  </a:cubicBezTo>
                  <a:lnTo>
                    <a:pt x="0" y="104"/>
                  </a:lnTo>
                  <a:cubicBezTo>
                    <a:pt x="0" y="45"/>
                    <a:pt x="1000" y="0"/>
                    <a:pt x="2152" y="0"/>
                  </a:cubicBezTo>
                  <a:lnTo>
                    <a:pt x="20139" y="0"/>
                  </a:lnTo>
                  <a:cubicBezTo>
                    <a:pt x="20909" y="0"/>
                    <a:pt x="21600" y="30"/>
                    <a:pt x="21600" y="71"/>
                  </a:cubicBezTo>
                  <a:lnTo>
                    <a:pt x="21600" y="21529"/>
                  </a:lnTo>
                  <a:cubicBezTo>
                    <a:pt x="21600" y="21570"/>
                    <a:pt x="20909" y="21600"/>
                    <a:pt x="20139" y="21600"/>
                  </a:cubicBezTo>
                  <a:close/>
                </a:path>
              </a:pathLst>
            </a:custGeom>
            <a:solidFill>
              <a:srgbClr val="FAFD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609" name="Picture Placeholder 33"/>
          <p:cNvSpPr>
            <a:spLocks noGrp="1"/>
          </p:cNvSpPr>
          <p:nvPr>
            <p:ph type="pic" sz="quarter" idx="21"/>
          </p:nvPr>
        </p:nvSpPr>
        <p:spPr>
          <a:xfrm>
            <a:off x="4875319" y="1190468"/>
            <a:ext cx="2397424" cy="447294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10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5479221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9173266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Contents slide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7133457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NG sets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528" y="332482"/>
            <a:ext cx="11573198" cy="724248"/>
          </a:xfrm>
          <a:prstGeom prst="rect">
            <a:avLst/>
          </a:prstGeom>
        </p:spPr>
        <p:txBody>
          <a:bodyPr anchor="ctr"/>
          <a:lstStyle>
            <a:lvl1pPr marL="0" indent="0" algn="ctr">
              <a:buSzTx/>
              <a:buFontTx/>
              <a:buNone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71550" indent="-51435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31619" indent="-617219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574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5146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PNG &amp; Shapes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32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8445661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9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528" y="123478"/>
            <a:ext cx="11573198" cy="724248"/>
          </a:xfrm>
          <a:prstGeom prst="rect">
            <a:avLst/>
          </a:prstGeom>
        </p:spPr>
        <p:txBody>
          <a:bodyPr anchor="ctr"/>
          <a:lstStyle>
            <a:lvl1pPr marL="0" indent="0" algn="ctr">
              <a:buSzTx/>
              <a:buFontTx/>
              <a:buNone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71550" indent="-51435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31619" indent="-617219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0574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514600" indent="-685800" algn="ctr">
              <a:buFontTx/>
              <a:defRPr sz="54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Icon Sets Layou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40" name="Rounded Rectangle 2"/>
          <p:cNvSpPr/>
          <p:nvPr/>
        </p:nvSpPr>
        <p:spPr>
          <a:xfrm>
            <a:off x="354010" y="1131591"/>
            <a:ext cx="3560768" cy="5402561"/>
          </a:xfrm>
          <a:prstGeom prst="roundRect">
            <a:avLst>
              <a:gd name="adj" fmla="val 3968"/>
            </a:avLst>
          </a:prstGeom>
          <a:solidFill>
            <a:srgbClr val="01D1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3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41" name="Rounded Rectangle 3"/>
          <p:cNvSpPr/>
          <p:nvPr/>
        </p:nvSpPr>
        <p:spPr>
          <a:xfrm>
            <a:off x="531932" y="1347500"/>
            <a:ext cx="153869" cy="5015201"/>
          </a:xfrm>
          <a:prstGeom prst="roundRect">
            <a:avLst>
              <a:gd name="adj" fmla="val 50000"/>
            </a:avLst>
          </a:prstGeom>
          <a:solidFill>
            <a:srgbClr val="FFFFFF">
              <a:alpha val="41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3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42" name="Half Frame 4"/>
          <p:cNvSpPr/>
          <p:nvPr/>
        </p:nvSpPr>
        <p:spPr>
          <a:xfrm rot="5400000">
            <a:off x="3057176" y="1276652"/>
            <a:ext cx="685850" cy="6851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16475" y="5125"/>
                </a:lnTo>
                <a:lnTo>
                  <a:pt x="5317" y="5125"/>
                </a:lnTo>
                <a:lnTo>
                  <a:pt x="5317" y="16283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3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43" name="TextBox 57"/>
          <p:cNvSpPr txBox="1"/>
          <p:nvPr/>
        </p:nvSpPr>
        <p:spPr>
          <a:xfrm>
            <a:off x="757423" y="1652812"/>
            <a:ext cx="2140810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spAutoFit/>
          </a:bodyPr>
          <a:lstStyle>
            <a:lvl1pPr>
              <a:defRPr sz="14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You can Resize without losing quality</a:t>
            </a:r>
          </a:p>
        </p:txBody>
      </p:sp>
      <p:sp>
        <p:nvSpPr>
          <p:cNvPr id="644" name="TextBox 58"/>
          <p:cNvSpPr txBox="1"/>
          <p:nvPr/>
        </p:nvSpPr>
        <p:spPr>
          <a:xfrm>
            <a:off x="757423" y="2149183"/>
            <a:ext cx="2140810" cy="695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spAutoFit/>
          </a:bodyPr>
          <a:lstStyle/>
          <a:p>
            <a:pPr>
              <a:defRPr sz="14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You can Change Fill Color &amp;</a:t>
            </a:r>
          </a:p>
          <a:p>
            <a:pPr>
              <a:defRPr sz="14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Line Color</a:t>
            </a:r>
          </a:p>
        </p:txBody>
      </p:sp>
      <p:sp>
        <p:nvSpPr>
          <p:cNvPr id="645" name="TextBox 59"/>
          <p:cNvSpPr txBox="1"/>
          <p:nvPr/>
        </p:nvSpPr>
        <p:spPr>
          <a:xfrm>
            <a:off x="766948" y="5817915"/>
            <a:ext cx="2140562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www.allppt.com</a:t>
            </a:r>
          </a:p>
        </p:txBody>
      </p:sp>
      <p:sp>
        <p:nvSpPr>
          <p:cNvPr id="646" name="TextBox 60"/>
          <p:cNvSpPr txBox="1"/>
          <p:nvPr/>
        </p:nvSpPr>
        <p:spPr>
          <a:xfrm>
            <a:off x="766949" y="4493318"/>
            <a:ext cx="2625857" cy="12990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spAutoFit/>
          </a:bodyPr>
          <a:lstStyle/>
          <a:p>
            <a:pPr>
              <a:defRPr sz="2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FREE </a:t>
            </a:r>
          </a:p>
          <a:p>
            <a:pPr>
              <a:defRPr sz="2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PPT TEMPLATES</a:t>
            </a:r>
          </a:p>
        </p:txBody>
      </p:sp>
      <p:sp>
        <p:nvSpPr>
          <p:cNvPr id="647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725606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96.xml"/><Relationship Id="rId55" Type="http://schemas.openxmlformats.org/officeDocument/2006/relationships/slideLayout" Target="../slideLayouts/slideLayout101.xml"/><Relationship Id="rId6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slideLayout" Target="../slideLayouts/slideLayout99.xml"/><Relationship Id="rId58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51.xml"/><Relationship Id="rId61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56" Type="http://schemas.openxmlformats.org/officeDocument/2006/relationships/slideLayout" Target="../slideLayouts/slideLayout102.xml"/><Relationship Id="rId64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59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54" Type="http://schemas.openxmlformats.org/officeDocument/2006/relationships/slideLayout" Target="../slideLayouts/slideLayout100.xml"/><Relationship Id="rId6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57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Relationship Id="rId60" Type="http://schemas.openxmlformats.org/officeDocument/2006/relationships/slideLayout" Target="../slideLayouts/slideLayout106.xml"/><Relationship Id="rId65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13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E5F168DA-2769-4110-A157-CE973F242F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0" imgW="421" imgH="420" progId="TCLayout.ActiveDocument.1">
                  <p:embed/>
                </p:oleObj>
              </mc:Choice>
              <mc:Fallback>
                <p:oleObj name="Slide do think-cell" r:id="rId10" imgW="421" imgH="42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E5F168DA-2769-4110-A157-CE973F242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9BE6FF39-A545-4BC0-AFF7-28CE42D12826}"/>
              </a:ext>
            </a:extLst>
          </p:cNvPr>
          <p:cNvSpPr/>
          <p:nvPr userDrawn="1"/>
        </p:nvSpPr>
        <p:spPr>
          <a:xfrm>
            <a:off x="-928914" y="-23550"/>
            <a:ext cx="667656" cy="667656"/>
          </a:xfrm>
          <a:prstGeom prst="rect">
            <a:avLst/>
          </a:prstGeom>
          <a:solidFill>
            <a:srgbClr val="0203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EC68F4E-89CD-4A0A-897A-94C564CCAA14}"/>
              </a:ext>
            </a:extLst>
          </p:cNvPr>
          <p:cNvSpPr/>
          <p:nvPr userDrawn="1"/>
        </p:nvSpPr>
        <p:spPr>
          <a:xfrm>
            <a:off x="-928914" y="752436"/>
            <a:ext cx="667656" cy="667656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5D6CC53F-8EEE-46AE-950A-A508A68AF543}"/>
              </a:ext>
            </a:extLst>
          </p:cNvPr>
          <p:cNvSpPr/>
          <p:nvPr userDrawn="1"/>
        </p:nvSpPr>
        <p:spPr>
          <a:xfrm>
            <a:off x="-928914" y="1528422"/>
            <a:ext cx="667656" cy="667656"/>
          </a:xfrm>
          <a:prstGeom prst="rect">
            <a:avLst/>
          </a:prstGeom>
          <a:solidFill>
            <a:srgbClr val="770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F4D3C4F-11F6-4213-944E-F1F1D27B6F5E}"/>
              </a:ext>
            </a:extLst>
          </p:cNvPr>
          <p:cNvSpPr/>
          <p:nvPr userDrawn="1"/>
        </p:nvSpPr>
        <p:spPr>
          <a:xfrm>
            <a:off x="-928914" y="2304408"/>
            <a:ext cx="667656" cy="667656"/>
          </a:xfrm>
          <a:prstGeom prst="rect">
            <a:avLst/>
          </a:prstGeom>
          <a:solidFill>
            <a:srgbClr val="CC01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86D8E11-DA42-4290-BA8B-9BD17E8E5ED7}"/>
              </a:ext>
            </a:extLst>
          </p:cNvPr>
          <p:cNvSpPr/>
          <p:nvPr userDrawn="1"/>
        </p:nvSpPr>
        <p:spPr>
          <a:xfrm>
            <a:off x="-928914" y="3080394"/>
            <a:ext cx="667656" cy="667656"/>
          </a:xfrm>
          <a:prstGeom prst="rect">
            <a:avLst/>
          </a:prstGeom>
          <a:solidFill>
            <a:srgbClr val="D801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E3A581B7-965A-41A5-8F4D-38A70288C2BE}"/>
              </a:ext>
            </a:extLst>
          </p:cNvPr>
          <p:cNvSpPr/>
          <p:nvPr userDrawn="1"/>
        </p:nvSpPr>
        <p:spPr>
          <a:xfrm>
            <a:off x="-928914" y="3856380"/>
            <a:ext cx="667656" cy="667656"/>
          </a:xfrm>
          <a:prstGeom prst="rect">
            <a:avLst/>
          </a:prstGeom>
          <a:solidFill>
            <a:srgbClr val="F45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C396F09-0E3E-43FE-AF19-2484E4E8AD07}"/>
              </a:ext>
            </a:extLst>
          </p:cNvPr>
          <p:cNvSpPr/>
          <p:nvPr userDrawn="1"/>
        </p:nvSpPr>
        <p:spPr>
          <a:xfrm>
            <a:off x="-928914" y="4632366"/>
            <a:ext cx="667656" cy="667656"/>
          </a:xfrm>
          <a:prstGeom prst="rect">
            <a:avLst/>
          </a:prstGeom>
          <a:solidFill>
            <a:srgbClr val="FF7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4B8DD9D1-FD8E-49E2-AECE-A920D1E5C8F3}"/>
              </a:ext>
            </a:extLst>
          </p:cNvPr>
          <p:cNvSpPr/>
          <p:nvPr userDrawn="1"/>
        </p:nvSpPr>
        <p:spPr>
          <a:xfrm>
            <a:off x="-928914" y="5408351"/>
            <a:ext cx="667656" cy="667656"/>
          </a:xfrm>
          <a:prstGeom prst="rect">
            <a:avLst/>
          </a:prstGeom>
          <a:solidFill>
            <a:srgbClr val="FFA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240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923" r:id="rId4"/>
    <p:sldLayoutId id="2147483924" r:id="rId5"/>
    <p:sldLayoutId id="2147483925" r:id="rId6"/>
    <p:sldLayoutId id="2147483926" r:id="rId7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312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79" r:id="rId7"/>
  </p:sldLayoutIdLst>
  <p:txStyles>
    <p:titleStyle>
      <a:lvl1pPr algn="ctr" defTabSz="609506" rtl="0" eaLnBrk="1" latinLnBrk="0" hangingPunct="1">
        <a:spcBef>
          <a:spcPct val="0"/>
        </a:spcBef>
        <a:buNone/>
        <a:defRPr sz="293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5" indent="-228565" algn="l" defTabSz="609506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225" indent="-190471" algn="l" defTabSz="609506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1883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637" indent="-152377" algn="l" defTabSz="609506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1" indent="-152377" algn="l" defTabSz="609506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144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0897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5650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404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53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06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26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14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767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52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274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027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9159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</p:sldLayoutIdLst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8460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3" r:id="rId16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2B1EE23-BBDF-3007-4FF7-0CBFA2296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D0B25-8332-F40E-ECEE-506157C48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9F118A6-C98C-A31B-64A3-39F95206E4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9F5FA-9DF9-4F27-8CA7-D33107EEF30F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10D83D1-EB9E-E5B2-7F95-92D4FDDDC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FCDDDC7-1C21-A120-0022-E9A4691D8B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98698-6F3B-483B-81F3-BD21E04CED8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7130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3" r:id="rId2"/>
    <p:sldLayoutId id="2147483894" r:id="rId3"/>
    <p:sldLayoutId id="2147483895" r:id="rId4"/>
    <p:sldLayoutId id="2147483897" r:id="rId5"/>
    <p:sldLayoutId id="2147483898" r:id="rId6"/>
    <p:sldLayoutId id="2147483899" r:id="rId7"/>
    <p:sldLayoutId id="2147484183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18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3" r:id="rId3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5108" algn="ctr" rtl="0" fontAlgn="base">
        <a:spcBef>
          <a:spcPct val="0"/>
        </a:spcBef>
        <a:spcAft>
          <a:spcPct val="0"/>
        </a:spcAft>
        <a:defRPr sz="5727">
          <a:solidFill>
            <a:schemeClr val="tx1"/>
          </a:solidFill>
          <a:latin typeface="Calibri" pitchFamily="34" charset="0"/>
        </a:defRPr>
      </a:lvl6pPr>
      <a:lvl7pPr marL="1190215" algn="ctr" rtl="0" fontAlgn="base">
        <a:spcBef>
          <a:spcPct val="0"/>
        </a:spcBef>
        <a:spcAft>
          <a:spcPct val="0"/>
        </a:spcAft>
        <a:defRPr sz="5727">
          <a:solidFill>
            <a:schemeClr val="tx1"/>
          </a:solidFill>
          <a:latin typeface="Calibri" pitchFamily="34" charset="0"/>
        </a:defRPr>
      </a:lvl7pPr>
      <a:lvl8pPr marL="1785324" algn="ctr" rtl="0" fontAlgn="base">
        <a:spcBef>
          <a:spcPct val="0"/>
        </a:spcBef>
        <a:spcAft>
          <a:spcPct val="0"/>
        </a:spcAft>
        <a:defRPr sz="5727">
          <a:solidFill>
            <a:schemeClr val="tx1"/>
          </a:solidFill>
          <a:latin typeface="Calibri" pitchFamily="34" charset="0"/>
        </a:defRPr>
      </a:lvl8pPr>
      <a:lvl9pPr marL="2380432" algn="ctr" rtl="0" fontAlgn="base">
        <a:spcBef>
          <a:spcPct val="0"/>
        </a:spcBef>
        <a:spcAft>
          <a:spcPct val="0"/>
        </a:spcAft>
        <a:defRPr sz="5727">
          <a:solidFill>
            <a:schemeClr val="tx1"/>
          </a:solidFill>
          <a:latin typeface="Calibri" pitchFamily="34" charset="0"/>
        </a:defRPr>
      </a:lvl9pPr>
    </p:titleStyle>
    <p:bodyStyle>
      <a:lvl1pPr marL="445998" indent="-4459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592" indent="-3714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7186" indent="-29680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2377" indent="-29680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7570" indent="-29680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3094" indent="-297554" algn="l" defTabSz="1190215" rtl="0" eaLnBrk="1" latinLnBrk="0" hangingPunct="1">
        <a:spcBef>
          <a:spcPct val="20000"/>
        </a:spcBef>
        <a:buFont typeface="Arial" pitchFamily="34" charset="0"/>
        <a:buChar char="•"/>
        <a:defRPr sz="2603" kern="1200">
          <a:solidFill>
            <a:schemeClr val="tx1"/>
          </a:solidFill>
          <a:latin typeface="+mn-lt"/>
          <a:ea typeface="+mn-ea"/>
          <a:cs typeface="+mn-cs"/>
        </a:defRPr>
      </a:lvl6pPr>
      <a:lvl7pPr marL="3868201" indent="-297554" algn="l" defTabSz="1190215" rtl="0" eaLnBrk="1" latinLnBrk="0" hangingPunct="1">
        <a:spcBef>
          <a:spcPct val="20000"/>
        </a:spcBef>
        <a:buFont typeface="Arial" pitchFamily="34" charset="0"/>
        <a:buChar char="•"/>
        <a:defRPr sz="2603" kern="1200">
          <a:solidFill>
            <a:schemeClr val="tx1"/>
          </a:solidFill>
          <a:latin typeface="+mn-lt"/>
          <a:ea typeface="+mn-ea"/>
          <a:cs typeface="+mn-cs"/>
        </a:defRPr>
      </a:lvl7pPr>
      <a:lvl8pPr marL="4463309" indent="-297554" algn="l" defTabSz="1190215" rtl="0" eaLnBrk="1" latinLnBrk="0" hangingPunct="1">
        <a:spcBef>
          <a:spcPct val="20000"/>
        </a:spcBef>
        <a:buFont typeface="Arial" pitchFamily="34" charset="0"/>
        <a:buChar char="•"/>
        <a:defRPr sz="2603" kern="1200">
          <a:solidFill>
            <a:schemeClr val="tx1"/>
          </a:solidFill>
          <a:latin typeface="+mn-lt"/>
          <a:ea typeface="+mn-ea"/>
          <a:cs typeface="+mn-cs"/>
        </a:defRPr>
      </a:lvl8pPr>
      <a:lvl9pPr marL="5058417" indent="-297554" algn="l" defTabSz="1190215" rtl="0" eaLnBrk="1" latinLnBrk="0" hangingPunct="1">
        <a:spcBef>
          <a:spcPct val="20000"/>
        </a:spcBef>
        <a:buFont typeface="Arial" pitchFamily="34" charset="0"/>
        <a:buChar char="•"/>
        <a:defRPr sz="26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1pPr>
      <a:lvl2pPr marL="595108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2pPr>
      <a:lvl3pPr marL="1190215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3pPr>
      <a:lvl4pPr marL="1785324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4pPr>
      <a:lvl5pPr marL="2380432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5pPr>
      <a:lvl6pPr marL="2975539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6pPr>
      <a:lvl7pPr marL="3570647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7pPr>
      <a:lvl8pPr marL="4165756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8pPr>
      <a:lvl9pPr marL="4760863" algn="l" defTabSz="1190215" rtl="0" eaLnBrk="1" latinLnBrk="0" hangingPunct="1">
        <a:defRPr sz="23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 do Título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exto do Título</a:t>
            </a:r>
          </a:p>
        </p:txBody>
      </p:sp>
      <p:sp>
        <p:nvSpPr>
          <p:cNvPr id="3" name="Nível de Corpo Um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normAutofit/>
          </a:bodyPr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1074857" y="6419532"/>
            <a:ext cx="278943" cy="23876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605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  <p:sldLayoutId id="2147483956" r:id="rId22"/>
    <p:sldLayoutId id="2147483957" r:id="rId23"/>
    <p:sldLayoutId id="2147483958" r:id="rId24"/>
    <p:sldLayoutId id="2147483959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Gotham Bold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otham Bold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7C14710-AB49-6A2D-D9C3-DD5874463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FAC35BF-729A-E8B4-DF43-F833082E6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3AED2A7-066C-30A1-831E-4A41DABAF4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1A9476B-AA97-4A1C-AD25-8DFBA3C11662}" type="datetimeFigureOut">
              <a:rPr lang="pt-BR" smtClean="0"/>
              <a:t>01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0F1C4E1-E857-654D-1AC8-A4449BB5D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C84B33-D7EB-D03D-6FAB-803A97ED2D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B3C775C-4EA0-48FB-8D97-2F28F032C0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2438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136" r:id="rId12"/>
    <p:sldLayoutId id="2147484137" r:id="rId13"/>
    <p:sldLayoutId id="2147484138" r:id="rId14"/>
    <p:sldLayoutId id="2147484139" r:id="rId15"/>
    <p:sldLayoutId id="2147484140" r:id="rId16"/>
    <p:sldLayoutId id="2147484141" r:id="rId17"/>
    <p:sldLayoutId id="2147484142" r:id="rId18"/>
    <p:sldLayoutId id="2147484143" r:id="rId19"/>
    <p:sldLayoutId id="2147484144" r:id="rId20"/>
    <p:sldLayoutId id="2147484145" r:id="rId21"/>
    <p:sldLayoutId id="2147484146" r:id="rId22"/>
    <p:sldLayoutId id="2147484147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450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182" r:id="rId4"/>
  </p:sldLayoutIdLst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3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8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8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8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21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</p:sldLayoutIdLst>
  <p:txStyles>
    <p:titleStyle>
      <a:lvl1pPr algn="ctr" defTabSz="609506" rtl="0" eaLnBrk="1" latinLnBrk="0" hangingPunct="1">
        <a:spcBef>
          <a:spcPct val="0"/>
        </a:spcBef>
        <a:buNone/>
        <a:defRPr sz="293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5" indent="-228565" algn="l" defTabSz="609506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225" indent="-190471" algn="l" defTabSz="609506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1883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637" indent="-152377" algn="l" defTabSz="609506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1" indent="-152377" algn="l" defTabSz="609506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144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0897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5650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404" indent="-152377" algn="l" defTabSz="609506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53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06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26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14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767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520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274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027" algn="l" defTabSz="60950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2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5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5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5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4.xml"/><Relationship Id="rId5" Type="http://schemas.openxmlformats.org/officeDocument/2006/relationships/image" Target="../media/image64.png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4.png"/><Relationship Id="rId11" Type="http://schemas.openxmlformats.org/officeDocument/2006/relationships/image" Target="../media/image2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" Target="slide4.xml"/><Relationship Id="rId1" Type="http://schemas.openxmlformats.org/officeDocument/2006/relationships/slideLayout" Target="../slideLayouts/slideLayout137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57.jpeg"/><Relationship Id="rId5" Type="http://schemas.openxmlformats.org/officeDocument/2006/relationships/image" Target="../media/image56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Image 0" descr="Image 0">
            <a:extLst>
              <a:ext uri="{FF2B5EF4-FFF2-40B4-BE49-F238E27FC236}">
                <a16:creationId xmlns:a16="http://schemas.microsoft.com/office/drawing/2014/main" id="{F6186AE6-8422-A5C7-41A9-A67C8E7D8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5938" y="-524166"/>
            <a:ext cx="12560442" cy="1413049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F1DAD519-ACFE-3A15-E193-7D557A8678A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FFBE23">
                  <a:alpha val="70000"/>
                </a:srgbClr>
              </a:gs>
              <a:gs pos="33000">
                <a:srgbClr val="004042">
                  <a:alpha val="9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F0318A4E-50B4-B0A8-121C-8856BB27FEDD}"/>
              </a:ext>
            </a:extLst>
          </p:cNvPr>
          <p:cNvGrpSpPr/>
          <p:nvPr/>
        </p:nvGrpSpPr>
        <p:grpSpPr>
          <a:xfrm>
            <a:off x="345427" y="3147210"/>
            <a:ext cx="5523952" cy="3037195"/>
            <a:chOff x="8518031" y="3615939"/>
            <a:chExt cx="5523952" cy="3037195"/>
          </a:xfrm>
        </p:grpSpPr>
        <p:sp>
          <p:nvSpPr>
            <p:cNvPr id="12" name="Google Shape;164;p25">
              <a:extLst>
                <a:ext uri="{FF2B5EF4-FFF2-40B4-BE49-F238E27FC236}">
                  <a16:creationId xmlns:a16="http://schemas.microsoft.com/office/drawing/2014/main" id="{8CF5E7FC-A8AB-84B8-EBAE-E2D3B761B0DD}"/>
                </a:ext>
              </a:extLst>
            </p:cNvPr>
            <p:cNvSpPr txBox="1"/>
            <p:nvPr/>
          </p:nvSpPr>
          <p:spPr>
            <a:xfrm>
              <a:off x="8518031" y="3615939"/>
              <a:ext cx="5523952" cy="30371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3487" tIns="31727" rIns="63487" bIns="31727" anchor="t" anchorCtr="0">
              <a:spAutoFit/>
            </a:bodyPr>
            <a:lstStyle/>
            <a:p>
              <a:pPr marL="0" marR="0" lvl="0" indent="0" algn="r" defTabSz="914341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pt-BR" sz="13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lobotipo Corporativa" panose="020B0503020202020204" pitchFamily="34" charset="0"/>
                  <a:ea typeface="Montserrat"/>
                  <a:cs typeface="Montserrat"/>
                  <a:sym typeface="Montserrat"/>
                </a:rPr>
                <a:t>TV3.0</a:t>
              </a:r>
              <a:endParaRPr kumimoji="0" sz="13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lobotipo Corporativa" panose="020B0503020202020204" pitchFamily="34" charset="0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3FE267E2-D1E8-63E7-9013-42512F235020}"/>
                </a:ext>
              </a:extLst>
            </p:cNvPr>
            <p:cNvSpPr txBox="1"/>
            <p:nvPr/>
          </p:nvSpPr>
          <p:spPr>
            <a:xfrm>
              <a:off x="11565135" y="5158599"/>
              <a:ext cx="24396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lobotipo Texto" panose="00000500000000000000" pitchFamily="50" charset="0"/>
                  <a:ea typeface="+mn-ea"/>
                  <a:cs typeface="+mn-cs"/>
                </a:rPr>
                <a:t>Novembro 2024</a:t>
              </a:r>
            </a:p>
          </p:txBody>
        </p:sp>
      </p:grp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D54129D1-8018-14B6-4E86-35E3AD6B4B07}"/>
              </a:ext>
            </a:extLst>
          </p:cNvPr>
          <p:cNvSpPr/>
          <p:nvPr/>
        </p:nvSpPr>
        <p:spPr>
          <a:xfrm>
            <a:off x="6816360" y="3870992"/>
            <a:ext cx="4850068" cy="590738"/>
          </a:xfrm>
          <a:prstGeom prst="roundRect">
            <a:avLst>
              <a:gd name="adj" fmla="val 50000"/>
            </a:avLst>
          </a:prstGeom>
          <a:gradFill>
            <a:gsLst>
              <a:gs pos="34000">
                <a:srgbClr val="004042">
                  <a:alpha val="80000"/>
                </a:srgbClr>
              </a:gs>
              <a:gs pos="96000">
                <a:srgbClr val="004042">
                  <a:alpha val="2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6495976-C580-EF1A-88E3-A858D50416D8}"/>
              </a:ext>
            </a:extLst>
          </p:cNvPr>
          <p:cNvSpPr txBox="1"/>
          <p:nvPr/>
        </p:nvSpPr>
        <p:spPr>
          <a:xfrm>
            <a:off x="6636214" y="3738455"/>
            <a:ext cx="521035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</a:rPr>
              <a:t>O futuro da T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+mn-cs"/>
            </a:endParaRPr>
          </a:p>
        </p:txBody>
      </p:sp>
      <p:pic>
        <p:nvPicPr>
          <p:cNvPr id="8194" name="Picture 2" descr="Fórum SBTVD | T.V 2.5 English">
            <a:extLst>
              <a:ext uri="{FF2B5EF4-FFF2-40B4-BE49-F238E27FC236}">
                <a16:creationId xmlns:a16="http://schemas.microsoft.com/office/drawing/2014/main" id="{CCCEA493-7684-1DD7-FCBB-D0A2C7169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680" y="1306194"/>
            <a:ext cx="5621426" cy="1841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060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413206F-C1FD-6D28-DF2E-01752AA91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 descr="Interface gráfica do usuário&#10;&#10;Descrição gerada automaticamente">
            <a:extLst>
              <a:ext uri="{FF2B5EF4-FFF2-40B4-BE49-F238E27FC236}">
                <a16:creationId xmlns:a16="http://schemas.microsoft.com/office/drawing/2014/main" id="{7299EC29-893B-3324-6C65-9088AEC969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5" t="73109" r="71707" b="15868"/>
          <a:stretch/>
        </p:blipFill>
        <p:spPr>
          <a:xfrm>
            <a:off x="2695074" y="5025817"/>
            <a:ext cx="754470" cy="756001"/>
          </a:xfrm>
          <a:prstGeom prst="roundRect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4" name="Retângulo 33">
            <a:extLst>
              <a:ext uri="{FF2B5EF4-FFF2-40B4-BE49-F238E27FC236}">
                <a16:creationId xmlns:a16="http://schemas.microsoft.com/office/drawing/2014/main" id="{593556A6-B487-AFEC-70EE-2B6D7916D55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5" name="Imagem 34" descr="Interface gráfica do usuário&#10;&#10;Descrição gerada automaticamente">
            <a:extLst>
              <a:ext uri="{FF2B5EF4-FFF2-40B4-BE49-F238E27FC236}">
                <a16:creationId xmlns:a16="http://schemas.microsoft.com/office/drawing/2014/main" id="{EC6E2BBF-AE34-221F-098B-A8CF22B88C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5" t="73109" r="71707" b="15868"/>
          <a:stretch/>
        </p:blipFill>
        <p:spPr>
          <a:xfrm>
            <a:off x="2695074" y="5013786"/>
            <a:ext cx="754470" cy="756001"/>
          </a:xfrm>
          <a:prstGeom prst="roundRect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A9B0A4BE-756D-0F9F-1B74-FAEEC7FD10A8}"/>
              </a:ext>
            </a:extLst>
          </p:cNvPr>
          <p:cNvCxnSpPr>
            <a:cxnSpLocks/>
          </p:cNvCxnSpPr>
          <p:nvPr/>
        </p:nvCxnSpPr>
        <p:spPr>
          <a:xfrm flipV="1">
            <a:off x="3348270" y="1239249"/>
            <a:ext cx="0" cy="3744000"/>
          </a:xfrm>
          <a:prstGeom prst="line">
            <a:avLst/>
          </a:prstGeom>
          <a:ln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rapezoide 19">
            <a:extLst>
              <a:ext uri="{FF2B5EF4-FFF2-40B4-BE49-F238E27FC236}">
                <a16:creationId xmlns:a16="http://schemas.microsoft.com/office/drawing/2014/main" id="{754A070C-6B3A-35F9-83F0-FFF33623368C}"/>
              </a:ext>
            </a:extLst>
          </p:cNvPr>
          <p:cNvSpPr/>
          <p:nvPr/>
        </p:nvSpPr>
        <p:spPr>
          <a:xfrm rot="16200000">
            <a:off x="3244251" y="801851"/>
            <a:ext cx="2755231" cy="2547194"/>
          </a:xfrm>
          <a:prstGeom prst="trapezoid">
            <a:avLst>
              <a:gd name="adj" fmla="val 21221"/>
            </a:avLst>
          </a:prstGeom>
          <a:gradFill flip="none" rotWithShape="1">
            <a:gsLst>
              <a:gs pos="0">
                <a:srgbClr val="FFFFFF">
                  <a:alpha val="20000"/>
                </a:srgbClr>
              </a:gs>
              <a:gs pos="100000">
                <a:srgbClr val="022A27">
                  <a:alpha val="2000"/>
                </a:srgbClr>
              </a:gs>
              <a:gs pos="9000">
                <a:srgbClr val="012C2A">
                  <a:alpha val="60000"/>
                </a:srgbClr>
              </a:gs>
              <a:gs pos="38032">
                <a:srgbClr val="012C2A"/>
              </a:gs>
              <a:gs pos="73000">
                <a:srgbClr val="012C2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73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D94FCD6-69E9-55A4-7551-BA3D7215FB90}"/>
              </a:ext>
            </a:extLst>
          </p:cNvPr>
          <p:cNvSpPr txBox="1"/>
          <p:nvPr/>
        </p:nvSpPr>
        <p:spPr>
          <a:xfrm>
            <a:off x="3569862" y="1215035"/>
            <a:ext cx="23256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Gotham Bold"/>
              </a:rPr>
              <a:t>MARCA SEMPRE </a:t>
            </a:r>
            <a:b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Gotham Bold"/>
              </a:rPr>
            </a:br>
            <a: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Gotham Bold"/>
              </a:rPr>
              <a:t>VISÍVEL NA TELA INICIAL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EC0E9529-D63D-9859-0E7E-91881D017AAF}"/>
              </a:ext>
            </a:extLst>
          </p:cNvPr>
          <p:cNvSpPr txBox="1"/>
          <p:nvPr/>
        </p:nvSpPr>
        <p:spPr>
          <a:xfrm>
            <a:off x="3666117" y="2260374"/>
            <a:ext cx="2229354" cy="43088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defTabSz="6096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-122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sym typeface="Gotham Light"/>
              </a:rPr>
              <a:t>Fácil</a:t>
            </a:r>
            <a:r>
              <a:rPr lang="pt-BR" sz="1400" kern="0" cap="none" dirty="0">
                <a:solidFill>
                  <a:schemeClr val="bg1"/>
                </a:solidFill>
                <a:latin typeface="Century Gothic" panose="020B0502020202020204" pitchFamily="34" charset="0"/>
              </a:rPr>
              <a:t>l reconhecimento do </a:t>
            </a:r>
            <a:r>
              <a:rPr kumimoji="0" lang="pt-BR" sz="1400" b="0" i="0" u="none" strike="noStrike" kern="0" cap="none" spc="-122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sym typeface="Gotham Light"/>
              </a:rPr>
              <a:t>ambiente de TV aberta</a:t>
            </a: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EFD26CD2-66F7-D59D-C0A6-D67546FCE3C9}"/>
              </a:ext>
            </a:extLst>
          </p:cNvPr>
          <p:cNvSpPr/>
          <p:nvPr/>
        </p:nvSpPr>
        <p:spPr>
          <a:xfrm>
            <a:off x="65923" y="126633"/>
            <a:ext cx="4499187" cy="370476"/>
          </a:xfrm>
          <a:prstGeom prst="roundRect">
            <a:avLst>
              <a:gd name="adj" fmla="val 50000"/>
            </a:avLst>
          </a:prstGeom>
          <a:gradFill>
            <a:gsLst>
              <a:gs pos="7000">
                <a:srgbClr val="004042">
                  <a:alpha val="90000"/>
                </a:srgbClr>
              </a:gs>
              <a:gs pos="95000">
                <a:srgbClr val="006D70">
                  <a:alpha val="7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2054E0E7-A3BE-8AB2-EA0F-1DAB809012E9}"/>
              </a:ext>
            </a:extLst>
          </p:cNvPr>
          <p:cNvSpPr txBox="1"/>
          <p:nvPr/>
        </p:nvSpPr>
        <p:spPr>
          <a:xfrm>
            <a:off x="-467477" y="91736"/>
            <a:ext cx="5486401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kern="0" cap="none">
                <a:solidFill>
                  <a:schemeClr val="bg1"/>
                </a:solidFill>
                <a:latin typeface="Globotipo Corporativa" panose="020B0503020202020204" pitchFamily="34" charset="0"/>
              </a:rPr>
              <a:t> PROEMINÊNCIA  PARA A TV ABERTA</a:t>
            </a:r>
            <a:endParaRPr lang="pt-BR" sz="2400" kern="0" cap="none">
              <a:solidFill>
                <a:srgbClr val="004042"/>
              </a:solidFill>
              <a:latin typeface="Globotipo Corporativa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484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20" grpId="0" animBg="1"/>
      <p:bldP spid="9" grpId="0"/>
      <p:bldP spid="8" grpId="0" animBg="1"/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5D6FEDC-E93B-F34E-B935-06E6DA1CC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Interface gráfica do usuário&#10;&#10;Descrição gerada automaticamente">
            <a:extLst>
              <a:ext uri="{FF2B5EF4-FFF2-40B4-BE49-F238E27FC236}">
                <a16:creationId xmlns:a16="http://schemas.microsoft.com/office/drawing/2014/main" id="{01BF4DF3-0707-D9A3-4808-6A4331C29A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5" t="73109" r="71707" b="15868"/>
          <a:stretch/>
        </p:blipFill>
        <p:spPr>
          <a:xfrm>
            <a:off x="2695074" y="5025817"/>
            <a:ext cx="754470" cy="756001"/>
          </a:xfrm>
          <a:prstGeom prst="roundRect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F52F9E8A-490D-C3C4-EA1E-A7CE1CFE45FF}"/>
              </a:ext>
            </a:extLst>
          </p:cNvPr>
          <p:cNvSpPr/>
          <p:nvPr/>
        </p:nvSpPr>
        <p:spPr>
          <a:xfrm>
            <a:off x="2695074" y="12982130"/>
            <a:ext cx="756000" cy="756000"/>
          </a:xfrm>
          <a:prstGeom prst="roundRect">
            <a:avLst>
              <a:gd name="adj" fmla="val 15457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235E3AB-CCC4-57DD-10AF-CAC5335E3EC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70D068FB-8A87-28CA-7B9B-3FD881C78632}"/>
              </a:ext>
            </a:extLst>
          </p:cNvPr>
          <p:cNvCxnSpPr>
            <a:cxnSpLocks/>
          </p:cNvCxnSpPr>
          <p:nvPr/>
        </p:nvCxnSpPr>
        <p:spPr>
          <a:xfrm>
            <a:off x="6788643" y="1689487"/>
            <a:ext cx="647442" cy="0"/>
          </a:xfrm>
          <a:prstGeom prst="line">
            <a:avLst/>
          </a:prstGeom>
          <a:ln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rapezoide 14">
            <a:extLst>
              <a:ext uri="{FF2B5EF4-FFF2-40B4-BE49-F238E27FC236}">
                <a16:creationId xmlns:a16="http://schemas.microsoft.com/office/drawing/2014/main" id="{5904DED3-C57C-6F4A-C71E-CBAC0BEB2623}"/>
              </a:ext>
            </a:extLst>
          </p:cNvPr>
          <p:cNvSpPr/>
          <p:nvPr/>
        </p:nvSpPr>
        <p:spPr>
          <a:xfrm rot="16200000">
            <a:off x="7266756" y="415890"/>
            <a:ext cx="2755231" cy="2547194"/>
          </a:xfrm>
          <a:prstGeom prst="trapezoid">
            <a:avLst>
              <a:gd name="adj" fmla="val 21221"/>
            </a:avLst>
          </a:prstGeom>
          <a:gradFill flip="none" rotWithShape="1">
            <a:gsLst>
              <a:gs pos="0">
                <a:srgbClr val="FFFFFF">
                  <a:alpha val="20000"/>
                </a:srgbClr>
              </a:gs>
              <a:gs pos="100000">
                <a:srgbClr val="022A27">
                  <a:alpha val="2000"/>
                </a:srgbClr>
              </a:gs>
              <a:gs pos="9000">
                <a:srgbClr val="012C2A">
                  <a:alpha val="60000"/>
                </a:srgbClr>
              </a:gs>
              <a:gs pos="38032">
                <a:srgbClr val="012C2A"/>
              </a:gs>
              <a:gs pos="73000">
                <a:srgbClr val="012C2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73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92EC51B-BB68-9FD9-D28B-5FF401B3F0EC}"/>
              </a:ext>
            </a:extLst>
          </p:cNvPr>
          <p:cNvSpPr txBox="1"/>
          <p:nvPr/>
        </p:nvSpPr>
        <p:spPr>
          <a:xfrm>
            <a:off x="7657677" y="829074"/>
            <a:ext cx="3170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pt-BR" sz="2000" b="1" kern="0">
                <a:solidFill>
                  <a:schemeClr val="bg1"/>
                </a:solidFill>
                <a:latin typeface="Century Gothic" panose="020B0502020202020204" pitchFamily="34" charset="0"/>
                <a:sym typeface="Gotham Bold"/>
              </a:rPr>
              <a:t>MECANISMO DE ACESSO DIRETO AO AMBIENTE DA TV ABERTA</a:t>
            </a:r>
            <a:endParaRPr kumimoji="0" lang="pt-BR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Gotham Bold"/>
            </a:endParaRP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6D4AC49D-69C7-1618-FA6C-81F17462EA9A}"/>
              </a:ext>
            </a:extLst>
          </p:cNvPr>
          <p:cNvSpPr txBox="1"/>
          <p:nvPr/>
        </p:nvSpPr>
        <p:spPr>
          <a:xfrm>
            <a:off x="7753932" y="1874413"/>
            <a:ext cx="2111963" cy="64633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lvl="0" hangingPunct="0">
              <a:lnSpc>
                <a:spcPct val="100000"/>
              </a:lnSpc>
              <a:defRPr/>
            </a:pPr>
            <a:r>
              <a:rPr lang="pt-BR" sz="1400" kern="0" cap="none">
                <a:solidFill>
                  <a:schemeClr val="bg1"/>
                </a:solidFill>
                <a:latin typeface="Century Gothic" panose="020B0502020202020204" pitchFamily="34" charset="0"/>
              </a:rPr>
              <a:t>Facilitar a adaptação do telespectador nessa transição tecnológica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8FEA25B5-5D5D-0ADD-10BB-86750975CA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666" y="1103085"/>
            <a:ext cx="1777181" cy="685800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2CF4CEE-0EC4-31B0-2863-B577C65FEA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0540" y="1466285"/>
            <a:ext cx="970235" cy="97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85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48CE8329-4DBE-534E-6E4B-40C41A22EED5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" name="Imagem 7" descr="Interface gráfica do usuário&#10;&#10;Descrição gerada automaticamente">
              <a:extLst>
                <a:ext uri="{FF2B5EF4-FFF2-40B4-BE49-F238E27FC236}">
                  <a16:creationId xmlns:a16="http://schemas.microsoft.com/office/drawing/2014/main" id="{46E012D2-C804-67C0-F46A-C7C2FA834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930E3E59-4CF5-FB4A-82EA-FE09A398422D}"/>
                </a:ext>
              </a:extLst>
            </p:cNvPr>
            <p:cNvSpPr/>
            <p:nvPr/>
          </p:nvSpPr>
          <p:spPr>
            <a:xfrm>
              <a:off x="1499280" y="968951"/>
              <a:ext cx="711183" cy="2740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6414098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>
            <a:extLst>
              <a:ext uri="{FF2B5EF4-FFF2-40B4-BE49-F238E27FC236}">
                <a16:creationId xmlns:a16="http://schemas.microsoft.com/office/drawing/2014/main" id="{AC1C6A0A-5430-8149-A176-808E123A6B8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9" name="Imagem 8" descr="Interface gráfica do usuário&#10;&#10;Descrição gerada automaticamente">
              <a:extLst>
                <a:ext uri="{FF2B5EF4-FFF2-40B4-BE49-F238E27FC236}">
                  <a16:creationId xmlns:a16="http://schemas.microsoft.com/office/drawing/2014/main" id="{8C740A3E-1F45-19FC-D69A-A99D17DB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0EC5B244-093E-A360-F6C7-1CB74B4007F7}"/>
                </a:ext>
              </a:extLst>
            </p:cNvPr>
            <p:cNvSpPr/>
            <p:nvPr/>
          </p:nvSpPr>
          <p:spPr>
            <a:xfrm>
              <a:off x="1499280" y="968951"/>
              <a:ext cx="711183" cy="2740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5" name="Retângulo 4">
            <a:extLst>
              <a:ext uri="{FF2B5EF4-FFF2-40B4-BE49-F238E27FC236}">
                <a16:creationId xmlns:a16="http://schemas.microsoft.com/office/drawing/2014/main" id="{86D6DB00-CDAD-86CF-377F-26CD32C41C24}"/>
              </a:ext>
            </a:extLst>
          </p:cNvPr>
          <p:cNvSpPr/>
          <p:nvPr/>
        </p:nvSpPr>
        <p:spPr>
          <a:xfrm>
            <a:off x="0" y="2318021"/>
            <a:ext cx="12192000" cy="4618637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08FEFD78-5C9F-BD9E-4B42-F8FD8B6D85F4}"/>
              </a:ext>
            </a:extLst>
          </p:cNvPr>
          <p:cNvSpPr/>
          <p:nvPr/>
        </p:nvSpPr>
        <p:spPr>
          <a:xfrm>
            <a:off x="-19664" y="725946"/>
            <a:ext cx="304800" cy="1592074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B56DCBA7-C6FB-7CD0-5407-4816B7D70250}"/>
              </a:ext>
            </a:extLst>
          </p:cNvPr>
          <p:cNvSpPr/>
          <p:nvPr/>
        </p:nvSpPr>
        <p:spPr>
          <a:xfrm>
            <a:off x="-17479" y="0"/>
            <a:ext cx="12192000" cy="735776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AEC3090B-A77C-1D91-FB69-8797CCDD0020}"/>
              </a:ext>
            </a:extLst>
          </p:cNvPr>
          <p:cNvSpPr/>
          <p:nvPr/>
        </p:nvSpPr>
        <p:spPr>
          <a:xfrm>
            <a:off x="7240191" y="727588"/>
            <a:ext cx="4951809" cy="1864096"/>
          </a:xfrm>
          <a:prstGeom prst="rect">
            <a:avLst/>
          </a:prstGeom>
          <a:solidFill>
            <a:srgbClr val="012C2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rapezoide 1">
            <a:extLst>
              <a:ext uri="{FF2B5EF4-FFF2-40B4-BE49-F238E27FC236}">
                <a16:creationId xmlns:a16="http://schemas.microsoft.com/office/drawing/2014/main" id="{55FC4D92-84FF-2E39-93E2-03637FD86139}"/>
              </a:ext>
            </a:extLst>
          </p:cNvPr>
          <p:cNvSpPr/>
          <p:nvPr/>
        </p:nvSpPr>
        <p:spPr>
          <a:xfrm rot="16200000">
            <a:off x="7332066" y="415890"/>
            <a:ext cx="2755231" cy="2547194"/>
          </a:xfrm>
          <a:prstGeom prst="trapezoid">
            <a:avLst>
              <a:gd name="adj" fmla="val 21221"/>
            </a:avLst>
          </a:prstGeom>
          <a:gradFill flip="none" rotWithShape="1">
            <a:gsLst>
              <a:gs pos="0">
                <a:srgbClr val="FFFFFF">
                  <a:alpha val="20000"/>
                </a:srgbClr>
              </a:gs>
              <a:gs pos="100000">
                <a:srgbClr val="022A27">
                  <a:alpha val="2000"/>
                </a:srgbClr>
              </a:gs>
              <a:gs pos="9000">
                <a:srgbClr val="012C2A">
                  <a:alpha val="60000"/>
                </a:srgbClr>
              </a:gs>
              <a:gs pos="38032">
                <a:srgbClr val="012C2A"/>
              </a:gs>
              <a:gs pos="73000">
                <a:srgbClr val="012C2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73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05C6D6B-9839-602C-187E-47BBF7344DB9}"/>
              </a:ext>
            </a:extLst>
          </p:cNvPr>
          <p:cNvSpPr txBox="1"/>
          <p:nvPr/>
        </p:nvSpPr>
        <p:spPr>
          <a:xfrm>
            <a:off x="7785496" y="883260"/>
            <a:ext cx="31707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pt-BR" sz="2000" b="1" kern="0">
                <a:solidFill>
                  <a:schemeClr val="bg1"/>
                </a:solidFill>
                <a:latin typeface="Century Gothic" panose="020B0502020202020204" pitchFamily="34" charset="0"/>
                <a:sym typeface="Gotham Bold"/>
              </a:rPr>
              <a:t>TV3.0 é baseada em aplicativos</a:t>
            </a:r>
          </a:p>
          <a:p>
            <a:pPr lvl="0" hangingPunct="0">
              <a:defRPr/>
            </a:pPr>
            <a:r>
              <a:rPr lang="pt-BR" sz="1400" kern="0">
                <a:solidFill>
                  <a:schemeClr val="bg1"/>
                </a:solidFill>
                <a:latin typeface="Century Gothic" panose="020B0502020202020204" pitchFamily="34" charset="0"/>
              </a:rPr>
              <a:t>Foco em usabilidade</a:t>
            </a:r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sym typeface="Gotham Bold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D5922FBA-ADD0-DC66-3AE1-6BF68ACA56AE}"/>
              </a:ext>
            </a:extLst>
          </p:cNvPr>
          <p:cNvCxnSpPr>
            <a:cxnSpLocks/>
          </p:cNvCxnSpPr>
          <p:nvPr/>
        </p:nvCxnSpPr>
        <p:spPr>
          <a:xfrm>
            <a:off x="7123814" y="1237203"/>
            <a:ext cx="312271" cy="0"/>
          </a:xfrm>
          <a:prstGeom prst="line">
            <a:avLst/>
          </a:prstGeom>
          <a:ln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26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12" grpId="0" animBg="1"/>
      <p:bldP spid="2" grpId="0" animBg="1"/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5B843937-60B2-3281-E46E-FEF8A339EF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529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0C2D975E-7326-3C43-DCDB-852AB7F320FB}"/>
              </a:ext>
            </a:extLst>
          </p:cNvPr>
          <p:cNvSpPr/>
          <p:nvPr/>
        </p:nvSpPr>
        <p:spPr>
          <a:xfrm>
            <a:off x="1227" y="1379"/>
            <a:ext cx="4761198" cy="6856621"/>
          </a:xfrm>
          <a:prstGeom prst="rect">
            <a:avLst/>
          </a:prstGeom>
          <a:gradFill>
            <a:gsLst>
              <a:gs pos="0">
                <a:srgbClr val="006D70"/>
              </a:gs>
              <a:gs pos="50000">
                <a:srgbClr val="006D70"/>
              </a:gs>
              <a:gs pos="83000">
                <a:srgbClr val="004042"/>
              </a:gs>
              <a:gs pos="100000">
                <a:srgbClr val="00404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48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+mn-cs"/>
            </a:endParaRPr>
          </a:p>
        </p:txBody>
      </p:sp>
      <p:cxnSp>
        <p:nvCxnSpPr>
          <p:cNvPr id="82" name="Conector reto 81">
            <a:extLst>
              <a:ext uri="{FF2B5EF4-FFF2-40B4-BE49-F238E27FC236}">
                <a16:creationId xmlns:a16="http://schemas.microsoft.com/office/drawing/2014/main" id="{DEBC10FC-E2E7-4E58-B018-2837ABDE5DAC}"/>
              </a:ext>
            </a:extLst>
          </p:cNvPr>
          <p:cNvCxnSpPr>
            <a:cxnSpLocks/>
          </p:cNvCxnSpPr>
          <p:nvPr/>
        </p:nvCxnSpPr>
        <p:spPr>
          <a:xfrm>
            <a:off x="8739659" y="2316114"/>
            <a:ext cx="0" cy="5284836"/>
          </a:xfrm>
          <a:prstGeom prst="line">
            <a:avLst/>
          </a:prstGeom>
          <a:ln w="38100">
            <a:solidFill>
              <a:srgbClr val="00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85;p23">
            <a:extLst>
              <a:ext uri="{FF2B5EF4-FFF2-40B4-BE49-F238E27FC236}">
                <a16:creationId xmlns:a16="http://schemas.microsoft.com/office/drawing/2014/main" id="{223DBD12-2FBE-3B54-FF8E-8EADBFEED564}"/>
              </a:ext>
            </a:extLst>
          </p:cNvPr>
          <p:cNvSpPr txBox="1"/>
          <p:nvPr/>
        </p:nvSpPr>
        <p:spPr>
          <a:xfrm>
            <a:off x="8968162" y="2579558"/>
            <a:ext cx="2957674" cy="529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250" tIns="81250" rIns="81250" bIns="81250" anchor="t" anchorCtr="0">
            <a:noAutofit/>
          </a:bodyPr>
          <a:lstStyle/>
          <a:p>
            <a:pPr marL="0" marR="0" lvl="0" indent="0" algn="l" defTabSz="6095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  <a:sym typeface="Roboto"/>
              </a:rPr>
              <a:t>Estação Piloto Compartilhada SP</a:t>
            </a:r>
          </a:p>
        </p:txBody>
      </p:sp>
      <p:sp>
        <p:nvSpPr>
          <p:cNvPr id="15" name="Google Shape;284;p23">
            <a:extLst>
              <a:ext uri="{FF2B5EF4-FFF2-40B4-BE49-F238E27FC236}">
                <a16:creationId xmlns:a16="http://schemas.microsoft.com/office/drawing/2014/main" id="{3C16BCB0-73F7-10DD-3075-6D7D505FBEBD}"/>
              </a:ext>
            </a:extLst>
          </p:cNvPr>
          <p:cNvSpPr txBox="1"/>
          <p:nvPr/>
        </p:nvSpPr>
        <p:spPr>
          <a:xfrm>
            <a:off x="6353469" y="2711403"/>
            <a:ext cx="2094852" cy="359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3475" tIns="31721" rIns="63475" bIns="31721" anchor="t" anchorCtr="0">
            <a:spAutoFit/>
          </a:bodyPr>
          <a:lstStyle>
            <a:defPPr>
              <a:defRPr lang="en-BR"/>
            </a:defPPr>
            <a:lvl1pPr defTabSz="914214">
              <a:lnSpc>
                <a:spcPct val="90000"/>
              </a:lnSpc>
              <a:buClr>
                <a:srgbClr val="000000"/>
              </a:buClr>
              <a:defRPr sz="4799" kern="0">
                <a:solidFill>
                  <a:srgbClr val="939598"/>
                </a:solidFill>
                <a:latin typeface="Globotipo Corporativa" panose="020B0503020202020204" pitchFamily="34" charset="0"/>
                <a:ea typeface="Montserrat SemiBold"/>
                <a:cs typeface="Montserrat SemiBold"/>
              </a:defRPr>
            </a:lvl1pPr>
          </a:lstStyle>
          <a:p>
            <a:pPr marL="0" marR="0" lvl="0" indent="0" algn="r" defTabSz="63483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1" i="0" u="none" strike="noStrike" kern="0" cap="none" spc="0" normalizeH="0" baseline="0" noProof="0">
                <a:ln>
                  <a:noFill/>
                </a:ln>
                <a:solidFill>
                  <a:srgbClr val="006D70"/>
                </a:solidFill>
                <a:effectLst/>
                <a:uLnTx/>
                <a:uFillTx/>
                <a:latin typeface="Globotipo Corporativa" panose="020B0503020202020204" pitchFamily="34" charset="0"/>
                <a:sym typeface="Fira Sans Extra Condensed"/>
              </a:rPr>
              <a:t>2025</a:t>
            </a:r>
          </a:p>
        </p:txBody>
      </p:sp>
      <p:sp>
        <p:nvSpPr>
          <p:cNvPr id="30" name="Google Shape;314;p23">
            <a:extLst>
              <a:ext uri="{FF2B5EF4-FFF2-40B4-BE49-F238E27FC236}">
                <a16:creationId xmlns:a16="http://schemas.microsoft.com/office/drawing/2014/main" id="{692B0592-729B-2F03-9AD4-C3C7319A2B69}"/>
              </a:ext>
            </a:extLst>
          </p:cNvPr>
          <p:cNvSpPr txBox="1"/>
          <p:nvPr/>
        </p:nvSpPr>
        <p:spPr>
          <a:xfrm>
            <a:off x="6450652" y="3727848"/>
            <a:ext cx="1997669" cy="520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250" tIns="81250" rIns="81250" bIns="81250" anchor="ctr" anchorCtr="0">
            <a:noAutofit/>
          </a:bodyPr>
          <a:lstStyle/>
          <a:p>
            <a:pPr marL="0" marR="0" lvl="0" indent="0" algn="r" defTabSz="63483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006D70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  <a:sym typeface="Fira Sans Extra Condensed"/>
              </a:rPr>
              <a:t>2026</a:t>
            </a:r>
          </a:p>
        </p:txBody>
      </p:sp>
      <p:sp>
        <p:nvSpPr>
          <p:cNvPr id="2078" name="Elipse 2077">
            <a:extLst>
              <a:ext uri="{FF2B5EF4-FFF2-40B4-BE49-F238E27FC236}">
                <a16:creationId xmlns:a16="http://schemas.microsoft.com/office/drawing/2014/main" id="{0A54ABB1-E5CD-9914-37DB-B32869242A88}"/>
              </a:ext>
            </a:extLst>
          </p:cNvPr>
          <p:cNvSpPr/>
          <p:nvPr/>
        </p:nvSpPr>
        <p:spPr>
          <a:xfrm>
            <a:off x="8672153" y="3920601"/>
            <a:ext cx="135013" cy="135013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6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348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91" name="Agrupar 2090">
            <a:extLst>
              <a:ext uri="{FF2B5EF4-FFF2-40B4-BE49-F238E27FC236}">
                <a16:creationId xmlns:a16="http://schemas.microsoft.com/office/drawing/2014/main" id="{F858A5A2-789E-17BB-CA26-366E645A359F}"/>
              </a:ext>
            </a:extLst>
          </p:cNvPr>
          <p:cNvGrpSpPr/>
          <p:nvPr/>
        </p:nvGrpSpPr>
        <p:grpSpPr>
          <a:xfrm>
            <a:off x="623302" y="5760073"/>
            <a:ext cx="685812" cy="127278"/>
            <a:chOff x="1321086" y="4607134"/>
            <a:chExt cx="1292354" cy="239842"/>
          </a:xfrm>
        </p:grpSpPr>
        <p:sp>
          <p:nvSpPr>
            <p:cNvPr id="2092" name="Elipse 2091">
              <a:extLst>
                <a:ext uri="{FF2B5EF4-FFF2-40B4-BE49-F238E27FC236}">
                  <a16:creationId xmlns:a16="http://schemas.microsoft.com/office/drawing/2014/main" id="{E5A96FB5-0BC3-E437-A005-1F72342EF9BB}"/>
                </a:ext>
              </a:extLst>
            </p:cNvPr>
            <p:cNvSpPr/>
            <p:nvPr/>
          </p:nvSpPr>
          <p:spPr>
            <a:xfrm>
              <a:off x="1321086" y="4607134"/>
              <a:ext cx="239842" cy="23984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3483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3" name="Elipse 2092">
              <a:extLst>
                <a:ext uri="{FF2B5EF4-FFF2-40B4-BE49-F238E27FC236}">
                  <a16:creationId xmlns:a16="http://schemas.microsoft.com/office/drawing/2014/main" id="{7B68189A-7BC5-2E0A-6903-362603E7298B}"/>
                </a:ext>
              </a:extLst>
            </p:cNvPr>
            <p:cNvSpPr/>
            <p:nvPr/>
          </p:nvSpPr>
          <p:spPr>
            <a:xfrm>
              <a:off x="1671923" y="4607134"/>
              <a:ext cx="239842" cy="239842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3483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4" name="Elipse 2093">
              <a:extLst>
                <a:ext uri="{FF2B5EF4-FFF2-40B4-BE49-F238E27FC236}">
                  <a16:creationId xmlns:a16="http://schemas.microsoft.com/office/drawing/2014/main" id="{EE5E7E99-A48D-E919-B122-7C865452FB1B}"/>
                </a:ext>
              </a:extLst>
            </p:cNvPr>
            <p:cNvSpPr/>
            <p:nvPr/>
          </p:nvSpPr>
          <p:spPr>
            <a:xfrm>
              <a:off x="2022760" y="4607134"/>
              <a:ext cx="239842" cy="239842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3483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5" name="Elipse 2094">
              <a:extLst>
                <a:ext uri="{FF2B5EF4-FFF2-40B4-BE49-F238E27FC236}">
                  <a16:creationId xmlns:a16="http://schemas.microsoft.com/office/drawing/2014/main" id="{D6B72845-E9D9-78C4-5A29-8F7A0F23DBEF}"/>
                </a:ext>
              </a:extLst>
            </p:cNvPr>
            <p:cNvSpPr/>
            <p:nvPr/>
          </p:nvSpPr>
          <p:spPr>
            <a:xfrm>
              <a:off x="2373598" y="4607134"/>
              <a:ext cx="239842" cy="2398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3483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074" name="Picture 2" descr="mapa do Brasil em aquarela colorida em fundo transparente. 10171046 PNG">
            <a:extLst>
              <a:ext uri="{FF2B5EF4-FFF2-40B4-BE49-F238E27FC236}">
                <a16:creationId xmlns:a16="http://schemas.microsoft.com/office/drawing/2014/main" id="{204A6FBF-7883-C6DC-3EB6-F6D562A15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957" y="771583"/>
            <a:ext cx="5714661" cy="576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Google Shape;281;p23">
            <a:extLst>
              <a:ext uri="{FF2B5EF4-FFF2-40B4-BE49-F238E27FC236}">
                <a16:creationId xmlns:a16="http://schemas.microsoft.com/office/drawing/2014/main" id="{8D37E965-FF90-E5D7-B131-3A59DB2EF68C}"/>
              </a:ext>
            </a:extLst>
          </p:cNvPr>
          <p:cNvSpPr txBox="1">
            <a:spLocks/>
          </p:cNvSpPr>
          <p:nvPr/>
        </p:nvSpPr>
        <p:spPr>
          <a:xfrm>
            <a:off x="623301" y="3458242"/>
            <a:ext cx="5166467" cy="12747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ts val="6375"/>
              </a:lnSpc>
              <a:spcBef>
                <a:spcPct val="0"/>
              </a:spcBef>
              <a:defRPr sz="6312" b="1">
                <a:solidFill>
                  <a:srgbClr val="000000"/>
                </a:solidFill>
                <a:latin typeface="Globotipo Corporativa Bold"/>
                <a:ea typeface="Globotipo Corporativa Bold"/>
                <a:cs typeface="Globotipo Corporativa Bold"/>
              </a:defRPr>
            </a:lvl1pPr>
          </a:lstStyle>
          <a:p>
            <a:pPr marL="0" marR="0" lvl="0" indent="0" algn="l" defTabSz="609506" rtl="0" eaLnBrk="1" fontAlgn="auto" latinLnBrk="0" hangingPunct="1">
              <a:lnSpc>
                <a:spcPct val="6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66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lobotipo Corporativa" panose="020B0503020202020204" pitchFamily="34" charset="0"/>
              </a:rPr>
              <a:t>Projetos Pilotos</a:t>
            </a:r>
          </a:p>
        </p:txBody>
      </p:sp>
      <p:sp>
        <p:nvSpPr>
          <p:cNvPr id="80" name="Elipse 79">
            <a:extLst>
              <a:ext uri="{FF2B5EF4-FFF2-40B4-BE49-F238E27FC236}">
                <a16:creationId xmlns:a16="http://schemas.microsoft.com/office/drawing/2014/main" id="{FD80E991-BAF4-4AEA-1648-876E9E71D290}"/>
              </a:ext>
            </a:extLst>
          </p:cNvPr>
          <p:cNvSpPr/>
          <p:nvPr/>
        </p:nvSpPr>
        <p:spPr>
          <a:xfrm>
            <a:off x="8672153" y="2806202"/>
            <a:ext cx="135013" cy="135013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6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348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Imagem 30">
            <a:extLst>
              <a:ext uri="{FF2B5EF4-FFF2-40B4-BE49-F238E27FC236}">
                <a16:creationId xmlns:a16="http://schemas.microsoft.com/office/drawing/2014/main" id="{B5C375E2-FFAF-8DA5-C6FC-AC6B7A0727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9334" b="1"/>
          <a:stretch/>
        </p:blipFill>
        <p:spPr>
          <a:xfrm>
            <a:off x="8251974" y="1757687"/>
            <a:ext cx="992758" cy="558427"/>
          </a:xfrm>
          <a:prstGeom prst="roundRect">
            <a:avLst/>
          </a:prstGeom>
          <a:noFill/>
        </p:spPr>
      </p:pic>
      <p:sp>
        <p:nvSpPr>
          <p:cNvPr id="2" name="Google Shape;285;p23">
            <a:extLst>
              <a:ext uri="{FF2B5EF4-FFF2-40B4-BE49-F238E27FC236}">
                <a16:creationId xmlns:a16="http://schemas.microsoft.com/office/drawing/2014/main" id="{53DE68AE-6EC2-6C04-BD5C-3DC71206E6A1}"/>
              </a:ext>
            </a:extLst>
          </p:cNvPr>
          <p:cNvSpPr txBox="1"/>
          <p:nvPr/>
        </p:nvSpPr>
        <p:spPr>
          <a:xfrm>
            <a:off x="8968162" y="3723215"/>
            <a:ext cx="2957674" cy="529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250" tIns="81250" rIns="81250" bIns="81250" anchor="t" anchorCtr="0">
            <a:noAutofit/>
          </a:bodyPr>
          <a:lstStyle/>
          <a:p>
            <a:pPr marL="0" marR="0" lvl="0" indent="0" algn="l" defTabSz="6095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  <a:sym typeface="Roboto"/>
              </a:rPr>
              <a:t>Estação Piloto </a:t>
            </a:r>
            <a:r>
              <a: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  <a:sym typeface="Roboto"/>
              </a:rPr>
              <a:t>Compartilhada Brasília</a:t>
            </a: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+mn-cs"/>
              <a:sym typeface="Roboto"/>
            </a:endParaRP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F84FFD15-1647-1191-CEE5-FB398C14A0B6}"/>
              </a:ext>
            </a:extLst>
          </p:cNvPr>
          <p:cNvSpPr txBox="1"/>
          <p:nvPr/>
        </p:nvSpPr>
        <p:spPr>
          <a:xfrm>
            <a:off x="5611081" y="1015335"/>
            <a:ext cx="6828183" cy="4417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l" defTabSz="6096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000" b="1" kern="0" spc="-208" noProof="0" dirty="0">
                <a:solidFill>
                  <a:srgbClr val="004042"/>
                </a:solidFill>
                <a:latin typeface="Globotipo Corporativa" panose="020B0503020202020204" pitchFamily="34" charset="0"/>
                <a:ea typeface="+mn-ea"/>
                <a:cs typeface="Calibri Light" panose="020F0302020204030204" pitchFamily="34" charset="0"/>
              </a:rPr>
              <a:t>MATURAÇÃO TECNOLÓGICA</a:t>
            </a:r>
            <a:endParaRPr kumimoji="0" lang="pt-BR" sz="4000" b="1" i="0" u="none" strike="noStrike" kern="0" cap="all" spc="-208" normalizeH="0" baseline="0" noProof="0" dirty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Calibri Light" panose="020F0302020204030204" pitchFamily="34" charset="0"/>
              <a:sym typeface="Gotham Light"/>
            </a:endParaRP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5BCEA153-AF22-1030-445E-9BAC3923DC9E}"/>
              </a:ext>
            </a:extLst>
          </p:cNvPr>
          <p:cNvSpPr/>
          <p:nvPr/>
        </p:nvSpPr>
        <p:spPr>
          <a:xfrm>
            <a:off x="8227142" y="1724752"/>
            <a:ext cx="1044000" cy="612000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849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20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325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2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1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/>
      <p:bldP spid="15" grpId="0"/>
      <p:bldP spid="30" grpId="0"/>
      <p:bldP spid="2078" grpId="0" animBg="1"/>
      <p:bldP spid="12" grpId="0"/>
      <p:bldP spid="80" grpId="0" animBg="1"/>
      <p:bldP spid="2" grpId="0"/>
      <p:bldP spid="4" grpId="0" animBg="1"/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Image 0" descr="Image 0">
            <a:extLst>
              <a:ext uri="{FF2B5EF4-FFF2-40B4-BE49-F238E27FC236}">
                <a16:creationId xmlns:a16="http://schemas.microsoft.com/office/drawing/2014/main" id="{F6186AE6-8422-A5C7-41A9-A67C8E7D8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5938" y="-524166"/>
            <a:ext cx="12560442" cy="1413049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F1DAD519-ACFE-3A15-E193-7D557A8678A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FFBE23">
                  <a:alpha val="70000"/>
                </a:srgbClr>
              </a:gs>
              <a:gs pos="33000">
                <a:srgbClr val="004042">
                  <a:alpha val="9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Google Shape;164;p25">
            <a:extLst>
              <a:ext uri="{FF2B5EF4-FFF2-40B4-BE49-F238E27FC236}">
                <a16:creationId xmlns:a16="http://schemas.microsoft.com/office/drawing/2014/main" id="{8CF5E7FC-A8AB-84B8-EBAE-E2D3B761B0DD}"/>
              </a:ext>
            </a:extLst>
          </p:cNvPr>
          <p:cNvSpPr txBox="1"/>
          <p:nvPr/>
        </p:nvSpPr>
        <p:spPr>
          <a:xfrm>
            <a:off x="5793727" y="3277989"/>
            <a:ext cx="5523952" cy="1012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3487" tIns="31727" rIns="63487" bIns="31727" anchor="t" anchorCtr="0">
            <a:spAutoFit/>
          </a:bodyPr>
          <a:lstStyle/>
          <a:p>
            <a:pPr marL="0" marR="0" lvl="0" indent="0" algn="r" defTabSz="914341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sz="8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lobotipo Corporativa" panose="020B0503020202020204" pitchFamily="34" charset="0"/>
                <a:ea typeface="Montserrat"/>
                <a:cs typeface="Montserrat"/>
                <a:sym typeface="Montserrat"/>
              </a:rPr>
              <a:t>TV3.0</a:t>
            </a:r>
            <a:endParaRPr kumimoji="0" sz="8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lobotipo Corporativa" panose="020B0503020202020204" pitchFamily="34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D54129D1-8018-14B6-4E86-35E3AD6B4B07}"/>
              </a:ext>
            </a:extLst>
          </p:cNvPr>
          <p:cNvSpPr/>
          <p:nvPr/>
        </p:nvSpPr>
        <p:spPr>
          <a:xfrm>
            <a:off x="7845796" y="4893585"/>
            <a:ext cx="3786812" cy="618215"/>
          </a:xfrm>
          <a:prstGeom prst="roundRect">
            <a:avLst>
              <a:gd name="adj" fmla="val 50000"/>
            </a:avLst>
          </a:prstGeom>
          <a:gradFill>
            <a:gsLst>
              <a:gs pos="34000">
                <a:srgbClr val="004042">
                  <a:alpha val="80000"/>
                </a:srgbClr>
              </a:gs>
              <a:gs pos="96000">
                <a:srgbClr val="004042">
                  <a:alpha val="2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6495976-C580-EF1A-88E3-A858D50416D8}"/>
              </a:ext>
            </a:extLst>
          </p:cNvPr>
          <p:cNvSpPr txBox="1"/>
          <p:nvPr/>
        </p:nvSpPr>
        <p:spPr>
          <a:xfrm>
            <a:off x="7738813" y="4804565"/>
            <a:ext cx="40007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lobotipo Corporativa" panose="020B0503020202020204" pitchFamily="34" charset="0"/>
                <a:ea typeface="+mn-ea"/>
                <a:cs typeface="+mn-cs"/>
              </a:rPr>
              <a:t>Ana Eliza</a:t>
            </a: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D504251-D37C-A138-2754-9E1AE10E5A52}"/>
              </a:ext>
            </a:extLst>
          </p:cNvPr>
          <p:cNvSpPr/>
          <p:nvPr/>
        </p:nvSpPr>
        <p:spPr>
          <a:xfrm>
            <a:off x="517200" y="3804478"/>
            <a:ext cx="5724000" cy="590738"/>
          </a:xfrm>
          <a:prstGeom prst="roundRect">
            <a:avLst>
              <a:gd name="adj" fmla="val 50000"/>
            </a:avLst>
          </a:prstGeom>
          <a:solidFill>
            <a:srgbClr val="006D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092785D-C740-60F6-D3A1-BBBBC94C5025}"/>
              </a:ext>
            </a:extLst>
          </p:cNvPr>
          <p:cNvSpPr txBox="1"/>
          <p:nvPr/>
        </p:nvSpPr>
        <p:spPr>
          <a:xfrm>
            <a:off x="517200" y="2861918"/>
            <a:ext cx="63805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0" cap="all" spc="-25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77"/>
                <a:sym typeface="Gotham Black"/>
              </a:rPr>
              <a:t>obrigadA</a:t>
            </a:r>
            <a:endParaRPr kumimoji="0" lang="pt-BR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+mn-cs"/>
            </a:endParaRPr>
          </a:p>
        </p:txBody>
      </p:sp>
      <p:pic>
        <p:nvPicPr>
          <p:cNvPr id="9" name="Picture 2" descr="Fórum SBTVD | T.V 2.5 English">
            <a:extLst>
              <a:ext uri="{FF2B5EF4-FFF2-40B4-BE49-F238E27FC236}">
                <a16:creationId xmlns:a16="http://schemas.microsoft.com/office/drawing/2014/main" id="{3E139482-0CC2-379D-FB6F-795E624E6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345" y="710003"/>
            <a:ext cx="2634835" cy="86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690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7" name="Agrupar"/>
          <p:cNvGrpSpPr/>
          <p:nvPr/>
        </p:nvGrpSpPr>
        <p:grpSpPr>
          <a:xfrm>
            <a:off x="-1" y="-1153241"/>
            <a:ext cx="12219452" cy="8944990"/>
            <a:chOff x="0" y="0"/>
            <a:chExt cx="12219451" cy="8944990"/>
          </a:xfrm>
        </p:grpSpPr>
        <p:sp>
          <p:nvSpPr>
            <p:cNvPr id="821" name="Retângulo Arredondado"/>
            <p:cNvSpPr/>
            <p:nvPr/>
          </p:nvSpPr>
          <p:spPr>
            <a:xfrm>
              <a:off x="2457221" y="148697"/>
              <a:ext cx="2457223" cy="8796294"/>
            </a:xfrm>
            <a:prstGeom prst="roundRect">
              <a:avLst>
                <a:gd name="adj" fmla="val 5285"/>
              </a:avLst>
            </a:prstGeom>
            <a:solidFill>
              <a:srgbClr val="91DDC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Bold"/>
                <a:sym typeface="Gotham Bold"/>
              </a:endParaRPr>
            </a:p>
          </p:txBody>
        </p:sp>
        <p:sp>
          <p:nvSpPr>
            <p:cNvPr id="822" name="Retângulo Arredondado"/>
            <p:cNvSpPr/>
            <p:nvPr/>
          </p:nvSpPr>
          <p:spPr>
            <a:xfrm>
              <a:off x="4881114" y="148697"/>
              <a:ext cx="2457223" cy="8796294"/>
            </a:xfrm>
            <a:prstGeom prst="roundRect">
              <a:avLst>
                <a:gd name="adj" fmla="val 5285"/>
              </a:avLst>
            </a:prstGeom>
            <a:solidFill>
              <a:srgbClr val="7ABCA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Bold"/>
                <a:sym typeface="Gotham Bold"/>
              </a:endParaRPr>
            </a:p>
          </p:txBody>
        </p:sp>
        <p:sp>
          <p:nvSpPr>
            <p:cNvPr id="823" name="Retângulo Arredondado"/>
            <p:cNvSpPr/>
            <p:nvPr/>
          </p:nvSpPr>
          <p:spPr>
            <a:xfrm>
              <a:off x="7338336" y="148697"/>
              <a:ext cx="2457223" cy="8796294"/>
            </a:xfrm>
            <a:prstGeom prst="roundRect">
              <a:avLst>
                <a:gd name="adj" fmla="val 5285"/>
              </a:avLst>
            </a:prstGeom>
            <a:solidFill>
              <a:srgbClr val="6CA89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Bold"/>
                <a:sym typeface="Gotham Bold"/>
              </a:endParaRPr>
            </a:p>
          </p:txBody>
        </p:sp>
        <p:grpSp>
          <p:nvGrpSpPr>
            <p:cNvPr id="826" name="Agrupar"/>
            <p:cNvGrpSpPr/>
            <p:nvPr/>
          </p:nvGrpSpPr>
          <p:grpSpPr>
            <a:xfrm>
              <a:off x="-1" y="0"/>
              <a:ext cx="12219452" cy="8937857"/>
              <a:chOff x="0" y="0"/>
              <a:chExt cx="12219450" cy="8937856"/>
            </a:xfrm>
          </p:grpSpPr>
          <p:sp>
            <p:nvSpPr>
              <p:cNvPr id="824" name="Retângulo Arredondado"/>
              <p:cNvSpPr/>
              <p:nvPr/>
            </p:nvSpPr>
            <p:spPr>
              <a:xfrm>
                <a:off x="0" y="0"/>
                <a:ext cx="2457222" cy="8796293"/>
              </a:xfrm>
              <a:prstGeom prst="roundRect">
                <a:avLst>
                  <a:gd name="adj" fmla="val 5285"/>
                </a:avLst>
              </a:prstGeom>
              <a:solidFill>
                <a:srgbClr val="95E3C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otham Bold"/>
                  <a:sym typeface="Gotham Bold"/>
                </a:endParaRPr>
              </a:p>
            </p:txBody>
          </p:sp>
          <p:sp>
            <p:nvSpPr>
              <p:cNvPr id="825" name="Retângulo Arredondado"/>
              <p:cNvSpPr/>
              <p:nvPr/>
            </p:nvSpPr>
            <p:spPr>
              <a:xfrm>
                <a:off x="9762228" y="141564"/>
                <a:ext cx="2457223" cy="8796293"/>
              </a:xfrm>
              <a:prstGeom prst="roundRect">
                <a:avLst>
                  <a:gd name="adj" fmla="val 5285"/>
                </a:avLst>
              </a:prstGeom>
              <a:solidFill>
                <a:srgbClr val="00404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otham Bold"/>
                  <a:sym typeface="Gotham Bold"/>
                </a:endParaRPr>
              </a:p>
            </p:txBody>
          </p:sp>
        </p:grpSp>
      </p:grpSp>
      <p:pic>
        <p:nvPicPr>
          <p:cNvPr id="828" name="Picture 3" descr="Picture 3"/>
          <p:cNvPicPr>
            <a:picLocks noChangeAspect="1"/>
          </p:cNvPicPr>
          <p:nvPr/>
        </p:nvPicPr>
        <p:blipFill>
          <a:blip r:embed="rId2"/>
          <a:srcRect r="51689"/>
          <a:stretch>
            <a:fillRect/>
          </a:stretch>
        </p:blipFill>
        <p:spPr>
          <a:xfrm>
            <a:off x="-153104" y="4094461"/>
            <a:ext cx="2633254" cy="3697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829" name="Picture 5" descr="Picture 5"/>
          <p:cNvPicPr>
            <a:picLocks noChangeAspect="1"/>
          </p:cNvPicPr>
          <p:nvPr/>
        </p:nvPicPr>
        <p:blipFill>
          <a:blip r:embed="rId3"/>
          <a:srcRect t="32299" r="47312"/>
          <a:stretch>
            <a:fillRect/>
          </a:stretch>
        </p:blipFill>
        <p:spPr>
          <a:xfrm>
            <a:off x="2071118" y="4487981"/>
            <a:ext cx="2807479" cy="3150533"/>
          </a:xfrm>
          <a:prstGeom prst="rect">
            <a:avLst/>
          </a:prstGeom>
          <a:ln w="12700">
            <a:miter lim="400000"/>
          </a:ln>
        </p:spPr>
      </p:pic>
      <p:pic>
        <p:nvPicPr>
          <p:cNvPr id="830" name="Picture 7" descr="Picture 7"/>
          <p:cNvPicPr>
            <a:picLocks noChangeAspect="1"/>
          </p:cNvPicPr>
          <p:nvPr/>
        </p:nvPicPr>
        <p:blipFill>
          <a:blip r:embed="rId4"/>
          <a:srcRect r="20492"/>
          <a:stretch>
            <a:fillRect/>
          </a:stretch>
        </p:blipFill>
        <p:spPr>
          <a:xfrm>
            <a:off x="4909369" y="4440702"/>
            <a:ext cx="2431694" cy="3120847"/>
          </a:xfrm>
          <a:prstGeom prst="rect">
            <a:avLst/>
          </a:prstGeom>
          <a:ln w="12700">
            <a:miter lim="400000"/>
          </a:ln>
        </p:spPr>
      </p:pic>
      <p:pic>
        <p:nvPicPr>
          <p:cNvPr id="831" name="Picture 9" descr="Picture 9"/>
          <p:cNvPicPr>
            <a:picLocks noChangeAspect="1"/>
          </p:cNvPicPr>
          <p:nvPr/>
        </p:nvPicPr>
        <p:blipFill>
          <a:blip r:embed="rId5"/>
          <a:srcRect l="9554" r="26176" b="4557"/>
          <a:stretch>
            <a:fillRect/>
          </a:stretch>
        </p:blipFill>
        <p:spPr>
          <a:xfrm>
            <a:off x="7353833" y="4688945"/>
            <a:ext cx="2432783" cy="2634117"/>
          </a:xfrm>
          <a:prstGeom prst="rect">
            <a:avLst/>
          </a:prstGeom>
          <a:ln w="12700">
            <a:miter lim="400000"/>
          </a:ln>
        </p:spPr>
      </p:pic>
      <p:pic>
        <p:nvPicPr>
          <p:cNvPr id="832" name="Picture 11" descr="Picture 11"/>
          <p:cNvPicPr>
            <a:picLocks noChangeAspect="1"/>
          </p:cNvPicPr>
          <p:nvPr/>
        </p:nvPicPr>
        <p:blipFill>
          <a:blip r:embed="rId6"/>
          <a:srcRect r="30269"/>
          <a:stretch>
            <a:fillRect/>
          </a:stretch>
        </p:blipFill>
        <p:spPr>
          <a:xfrm>
            <a:off x="9786677" y="4563148"/>
            <a:ext cx="2405323" cy="2876135"/>
          </a:xfrm>
          <a:prstGeom prst="rect">
            <a:avLst/>
          </a:prstGeom>
          <a:ln w="12700">
            <a:miter lim="400000"/>
          </a:ln>
        </p:spPr>
      </p:pic>
      <p:sp>
        <p:nvSpPr>
          <p:cNvPr id="833" name="Title 3"/>
          <p:cNvSpPr txBox="1"/>
          <p:nvPr/>
        </p:nvSpPr>
        <p:spPr>
          <a:xfrm>
            <a:off x="456219" y="2433718"/>
            <a:ext cx="1551949" cy="633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2438337">
              <a:lnSpc>
                <a:spcPct val="90000"/>
              </a:lnSpc>
              <a:defRPr sz="38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1950</a:t>
            </a:r>
          </a:p>
        </p:txBody>
      </p:sp>
      <p:sp>
        <p:nvSpPr>
          <p:cNvPr id="834" name="Title 3"/>
          <p:cNvSpPr txBox="1"/>
          <p:nvPr/>
        </p:nvSpPr>
        <p:spPr>
          <a:xfrm>
            <a:off x="2855347" y="2433718"/>
            <a:ext cx="1551949" cy="633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2438337">
              <a:lnSpc>
                <a:spcPct val="90000"/>
              </a:lnSpc>
              <a:defRPr sz="38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1970</a:t>
            </a:r>
          </a:p>
        </p:txBody>
      </p:sp>
      <p:sp>
        <p:nvSpPr>
          <p:cNvPr id="835" name="Title 3"/>
          <p:cNvSpPr txBox="1"/>
          <p:nvPr/>
        </p:nvSpPr>
        <p:spPr>
          <a:xfrm>
            <a:off x="5254475" y="2433718"/>
            <a:ext cx="1551949" cy="633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2438337">
              <a:lnSpc>
                <a:spcPct val="90000"/>
              </a:lnSpc>
              <a:defRPr sz="38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2007</a:t>
            </a:r>
          </a:p>
        </p:txBody>
      </p:sp>
      <p:sp>
        <p:nvSpPr>
          <p:cNvPr id="836" name="Title 3"/>
          <p:cNvSpPr txBox="1"/>
          <p:nvPr/>
        </p:nvSpPr>
        <p:spPr>
          <a:xfrm>
            <a:off x="7653602" y="2433718"/>
            <a:ext cx="1551949" cy="633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2438337">
              <a:lnSpc>
                <a:spcPct val="90000"/>
              </a:lnSpc>
              <a:defRPr sz="38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2020</a:t>
            </a:r>
          </a:p>
        </p:txBody>
      </p:sp>
      <p:sp>
        <p:nvSpPr>
          <p:cNvPr id="837" name="Title 3"/>
          <p:cNvSpPr txBox="1"/>
          <p:nvPr/>
        </p:nvSpPr>
        <p:spPr>
          <a:xfrm>
            <a:off x="10213433" y="2446418"/>
            <a:ext cx="1551949" cy="633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2438337">
              <a:lnSpc>
                <a:spcPct val="90000"/>
              </a:lnSpc>
              <a:defRPr sz="38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2025</a:t>
            </a:r>
          </a:p>
        </p:txBody>
      </p:sp>
      <p:sp>
        <p:nvSpPr>
          <p:cNvPr id="838" name="Title 3"/>
          <p:cNvSpPr txBox="1"/>
          <p:nvPr/>
        </p:nvSpPr>
        <p:spPr>
          <a:xfrm>
            <a:off x="590670" y="3110594"/>
            <a:ext cx="1811659" cy="505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2438337">
              <a:lnSpc>
                <a:spcPct val="90000"/>
              </a:lnSpc>
              <a:defRPr sz="29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TV 1.0</a:t>
            </a:r>
          </a:p>
        </p:txBody>
      </p:sp>
      <p:sp>
        <p:nvSpPr>
          <p:cNvPr id="839" name="Title 3"/>
          <p:cNvSpPr txBox="1"/>
          <p:nvPr/>
        </p:nvSpPr>
        <p:spPr>
          <a:xfrm>
            <a:off x="2983522" y="3109963"/>
            <a:ext cx="1811659" cy="505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2438337">
              <a:lnSpc>
                <a:spcPct val="90000"/>
              </a:lnSpc>
              <a:defRPr sz="29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TV 1.5</a:t>
            </a:r>
          </a:p>
        </p:txBody>
      </p:sp>
      <p:sp>
        <p:nvSpPr>
          <p:cNvPr id="840" name="Title 3"/>
          <p:cNvSpPr txBox="1"/>
          <p:nvPr/>
        </p:nvSpPr>
        <p:spPr>
          <a:xfrm>
            <a:off x="5325322" y="3109963"/>
            <a:ext cx="1811659" cy="505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2438337">
              <a:lnSpc>
                <a:spcPct val="90000"/>
              </a:lnSpc>
              <a:defRPr sz="29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TV 2.0</a:t>
            </a:r>
          </a:p>
        </p:txBody>
      </p:sp>
      <p:sp>
        <p:nvSpPr>
          <p:cNvPr id="841" name="Title 3"/>
          <p:cNvSpPr txBox="1"/>
          <p:nvPr/>
        </p:nvSpPr>
        <p:spPr>
          <a:xfrm>
            <a:off x="7742502" y="3110594"/>
            <a:ext cx="1811659" cy="505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2438337">
              <a:lnSpc>
                <a:spcPct val="90000"/>
              </a:lnSpc>
              <a:defRPr sz="29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TV 2.5</a:t>
            </a:r>
          </a:p>
        </p:txBody>
      </p:sp>
      <p:sp>
        <p:nvSpPr>
          <p:cNvPr id="842" name="Title 3"/>
          <p:cNvSpPr txBox="1"/>
          <p:nvPr/>
        </p:nvSpPr>
        <p:spPr>
          <a:xfrm>
            <a:off x="10329542" y="3138847"/>
            <a:ext cx="1811659" cy="505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2438337">
              <a:lnSpc>
                <a:spcPct val="90000"/>
              </a:lnSpc>
              <a:defRPr sz="2900">
                <a:solidFill>
                  <a:srgbClr val="EEBA2B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00" b="0" i="0" u="none" strike="noStrike" kern="0" cap="none" spc="0" normalizeH="0" baseline="0" noProof="0">
                <a:ln>
                  <a:noFill/>
                </a:ln>
                <a:solidFill>
                  <a:srgbClr val="EEBA2B"/>
                </a:solidFill>
                <a:effectLst/>
                <a:uLnTx/>
                <a:uFillTx/>
                <a:latin typeface="Globotipo Rounded" panose="00000500000000000000" pitchFamily="2" charset="0"/>
                <a:sym typeface="Gotham Black"/>
              </a:rPr>
              <a:t>TV 3.0</a:t>
            </a:r>
          </a:p>
        </p:txBody>
      </p:sp>
      <p:sp>
        <p:nvSpPr>
          <p:cNvPr id="843" name="experiência fluida…"/>
          <p:cNvSpPr txBox="1"/>
          <p:nvPr/>
        </p:nvSpPr>
        <p:spPr>
          <a:xfrm>
            <a:off x="10329542" y="3732664"/>
            <a:ext cx="1551949" cy="4725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>
            <a:spAutoFit/>
          </a:bodyPr>
          <a:lstStyle/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EEBA2B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EEBA2B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Experiência</a:t>
            </a:r>
          </a:p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EEBA2B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EEBA2B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fluída em escala</a:t>
            </a:r>
          </a:p>
        </p:txBody>
      </p:sp>
      <p:sp>
        <p:nvSpPr>
          <p:cNvPr id="847" name="Retângulo Arredondado"/>
          <p:cNvSpPr/>
          <p:nvPr/>
        </p:nvSpPr>
        <p:spPr>
          <a:xfrm>
            <a:off x="-284859" y="-1027400"/>
            <a:ext cx="13523541" cy="3156100"/>
          </a:xfrm>
          <a:prstGeom prst="roundRect">
            <a:avLst>
              <a:gd name="adj" fmla="val 4916"/>
            </a:avLst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Bold"/>
              <a:sym typeface="Gotham Bold"/>
            </a:endParaRPr>
          </a:p>
        </p:txBody>
      </p:sp>
      <p:sp>
        <p:nvSpPr>
          <p:cNvPr id="848" name="TextBox 11"/>
          <p:cNvSpPr txBox="1"/>
          <p:nvPr/>
        </p:nvSpPr>
        <p:spPr>
          <a:xfrm>
            <a:off x="260233" y="1190139"/>
            <a:ext cx="6544118" cy="4417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5400" cap="all" spc="-135">
                <a:solidFill>
                  <a:srgbClr val="6CA896"/>
                </a:solidFill>
                <a:latin typeface="Gotham Thin"/>
                <a:ea typeface="Gotham Thin"/>
                <a:cs typeface="Gotham Thin"/>
                <a:sym typeface="Gotham Thin"/>
              </a:defRPr>
            </a:lvl1pPr>
          </a:lstStyle>
          <a:p>
            <a:pPr marL="0" marR="0" lvl="0" indent="0" algn="l" defTabSz="6096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4000" b="1" err="1">
                <a:solidFill>
                  <a:srgbClr val="004042"/>
                </a:solidFill>
                <a:latin typeface="Globotipo Corporativa" panose="020B0503020202020204" pitchFamily="34" charset="0"/>
              </a:rPr>
              <a:t>Evolução</a:t>
            </a:r>
            <a:r>
              <a:rPr sz="4000" b="1">
                <a:solidFill>
                  <a:srgbClr val="004042"/>
                </a:solidFill>
                <a:latin typeface="Globotipo Corporativa" panose="020B0503020202020204" pitchFamily="34" charset="0"/>
              </a:rPr>
              <a:t> Tv </a:t>
            </a:r>
            <a:r>
              <a:rPr sz="4000" b="1" err="1">
                <a:solidFill>
                  <a:srgbClr val="004042"/>
                </a:solidFill>
                <a:latin typeface="Globotipo Corporativa" panose="020B0503020202020204" pitchFamily="34" charset="0"/>
              </a:rPr>
              <a:t>Aberta</a:t>
            </a:r>
            <a:endParaRPr sz="4000" b="1">
              <a:solidFill>
                <a:srgbClr val="004042"/>
              </a:solidFill>
              <a:latin typeface="Globotipo Corporativa" panose="020B0503020202020204" pitchFamily="34" charset="0"/>
            </a:endParaRPr>
          </a:p>
        </p:txBody>
      </p:sp>
      <p:sp>
        <p:nvSpPr>
          <p:cNvPr id="849" name="Analógica"/>
          <p:cNvSpPr txBox="1"/>
          <p:nvPr/>
        </p:nvSpPr>
        <p:spPr>
          <a:xfrm>
            <a:off x="660693" y="3669126"/>
            <a:ext cx="854401" cy="2135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2438337">
              <a:lnSpc>
                <a:spcPct val="90000"/>
              </a:lnSpc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Analógica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 Light" panose="00000400000000000000" pitchFamily="2" charset="0"/>
              <a:sym typeface="Gotham Light"/>
            </a:endParaRPr>
          </a:p>
        </p:txBody>
      </p:sp>
      <p:sp>
        <p:nvSpPr>
          <p:cNvPr id="850" name="Analógica em Cores"/>
          <p:cNvSpPr txBox="1"/>
          <p:nvPr/>
        </p:nvSpPr>
        <p:spPr>
          <a:xfrm>
            <a:off x="3042041" y="3669126"/>
            <a:ext cx="1105506" cy="4212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Analógica em Cores</a:t>
            </a:r>
          </a:p>
        </p:txBody>
      </p:sp>
      <p:sp>
        <p:nvSpPr>
          <p:cNvPr id="851" name="Digital HD…"/>
          <p:cNvSpPr txBox="1"/>
          <p:nvPr/>
        </p:nvSpPr>
        <p:spPr>
          <a:xfrm>
            <a:off x="5391945" y="3693432"/>
            <a:ext cx="1678412" cy="62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Digital HD</a:t>
            </a:r>
          </a:p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+Mobilidade</a:t>
            </a:r>
          </a:p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+Interatividade</a:t>
            </a:r>
          </a:p>
        </p:txBody>
      </p:sp>
      <p:sp>
        <p:nvSpPr>
          <p:cNvPr id="852" name="HDR…"/>
          <p:cNvSpPr txBox="1"/>
          <p:nvPr/>
        </p:nvSpPr>
        <p:spPr>
          <a:xfrm>
            <a:off x="7794121" y="3669126"/>
            <a:ext cx="1708421" cy="62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HDR</a:t>
            </a:r>
          </a:p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Áudio Imersivo</a:t>
            </a:r>
          </a:p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FFFFFF"/>
                </a:solidFill>
                <a:latin typeface="Gotham Light"/>
                <a:ea typeface="Gotham Light"/>
                <a:cs typeface="Gotham Light"/>
                <a:sym typeface="Gotham Light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Rounded Light" panose="00000400000000000000" pitchFamily="2" charset="0"/>
                <a:sym typeface="Gotham Light"/>
              </a:rPr>
              <a:t>DTV Play</a:t>
            </a:r>
          </a:p>
        </p:txBody>
      </p:sp>
      <p:sp>
        <p:nvSpPr>
          <p:cNvPr id="853" name="Linha"/>
          <p:cNvSpPr/>
          <p:nvPr/>
        </p:nvSpPr>
        <p:spPr>
          <a:xfrm>
            <a:off x="687187" y="3001893"/>
            <a:ext cx="10876240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lobotipo Rounded" panose="00000500000000000000" pitchFamily="2" charset="0"/>
              <a:sym typeface="Gotham Bold"/>
            </a:endParaRPr>
          </a:p>
        </p:txBody>
      </p:sp>
      <p:sp>
        <p:nvSpPr>
          <p:cNvPr id="854" name="Retângulo Arredondado"/>
          <p:cNvSpPr/>
          <p:nvPr/>
        </p:nvSpPr>
        <p:spPr>
          <a:xfrm>
            <a:off x="10166032" y="3675476"/>
            <a:ext cx="1665713" cy="787401"/>
          </a:xfrm>
          <a:prstGeom prst="roundRect">
            <a:avLst>
              <a:gd name="adj" fmla="val 6220"/>
            </a:avLst>
          </a:prstGeom>
          <a:ln w="12700">
            <a:solidFill>
              <a:srgbClr val="EEBA2B"/>
            </a:solidFill>
            <a:miter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lobotipo Rounded Light" panose="00000400000000000000" pitchFamily="2" charset="0"/>
              <a:sym typeface="Gotham Bold"/>
            </a:endParaRPr>
          </a:p>
        </p:txBody>
      </p:sp>
      <p:pic>
        <p:nvPicPr>
          <p:cNvPr id="4" name="Picture 4" descr="Picture 4">
            <a:extLst>
              <a:ext uri="{FF2B5EF4-FFF2-40B4-BE49-F238E27FC236}">
                <a16:creationId xmlns:a16="http://schemas.microsoft.com/office/drawing/2014/main" id="{CA451A74-7DB9-C8B8-32B5-2B66396830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7313" y="4551777"/>
            <a:ext cx="814338" cy="18517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" name="Imagem 22" descr="Imagem 22">
            <a:extLst>
              <a:ext uri="{FF2B5EF4-FFF2-40B4-BE49-F238E27FC236}">
                <a16:creationId xmlns:a16="http://schemas.microsoft.com/office/drawing/2014/main" id="{76BC184D-4C8A-9C6A-B2DB-DBF8ED0F65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54544" y="4453117"/>
            <a:ext cx="501900" cy="40320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6" name="Picture 6" descr="Picture 6">
            <a:extLst>
              <a:ext uri="{FF2B5EF4-FFF2-40B4-BE49-F238E27FC236}">
                <a16:creationId xmlns:a16="http://schemas.microsoft.com/office/drawing/2014/main" id="{95DF56F0-52AA-0DAC-36C2-FC5876483C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54321" y="4195762"/>
            <a:ext cx="981336" cy="33315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7" name="Picture 8" descr="Picture 8">
            <a:extLst>
              <a:ext uri="{FF2B5EF4-FFF2-40B4-BE49-F238E27FC236}">
                <a16:creationId xmlns:a16="http://schemas.microsoft.com/office/drawing/2014/main" id="{683733C6-8816-089C-EC9A-CDC645347A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94121" y="4308423"/>
            <a:ext cx="798597" cy="18293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0" name="Picture 2" descr="Fórum SBTVD | T.V 2.5 English">
            <a:extLst>
              <a:ext uri="{FF2B5EF4-FFF2-40B4-BE49-F238E27FC236}">
                <a16:creationId xmlns:a16="http://schemas.microsoft.com/office/drawing/2014/main" id="{C5D1FB77-F8D9-9F0B-C182-F82B9CC93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29" y="-592520"/>
            <a:ext cx="1352088" cy="44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órum SBTVD | T.V 2.5 English">
            <a:extLst>
              <a:ext uri="{FF2B5EF4-FFF2-40B4-BE49-F238E27FC236}">
                <a16:creationId xmlns:a16="http://schemas.microsoft.com/office/drawing/2014/main" id="{8F1063A1-CE09-D50E-D79D-CD16C53A8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833" y="168472"/>
            <a:ext cx="1352088" cy="44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BCEB1E5-6173-96E3-EB73-4F24B57CFE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349" r="59516" b="34235"/>
          <a:stretch/>
        </p:blipFill>
        <p:spPr>
          <a:xfrm>
            <a:off x="619433" y="1184060"/>
            <a:ext cx="11205726" cy="522338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ítulo 7">
            <a:extLst>
              <a:ext uri="{FF2B5EF4-FFF2-40B4-BE49-F238E27FC236}">
                <a16:creationId xmlns:a16="http://schemas.microsoft.com/office/drawing/2014/main" id="{9D9B8FC5-907D-B3B8-3960-88DFA70D4CCA}"/>
              </a:ext>
            </a:extLst>
          </p:cNvPr>
          <p:cNvSpPr txBox="1">
            <a:spLocks/>
          </p:cNvSpPr>
          <p:nvPr/>
        </p:nvSpPr>
        <p:spPr>
          <a:xfrm>
            <a:off x="545270" y="450551"/>
            <a:ext cx="9150393" cy="640080"/>
          </a:xfrm>
          <a:prstGeom prst="rect">
            <a:avLst/>
          </a:prstGeom>
        </p:spPr>
        <p:txBody>
          <a:bodyPr rtlCol="0"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</a:rPr>
              <a:t>DECRETO PRESIDENCIAL DA TV3.0</a:t>
            </a:r>
          </a:p>
        </p:txBody>
      </p:sp>
    </p:spTree>
    <p:extLst>
      <p:ext uri="{BB962C8B-B14F-4D97-AF65-F5344CB8AC3E}">
        <p14:creationId xmlns:p14="http://schemas.microsoft.com/office/powerpoint/2010/main" val="357053490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8" name="Forma"/>
          <p:cNvSpPr/>
          <p:nvPr/>
        </p:nvSpPr>
        <p:spPr>
          <a:xfrm>
            <a:off x="536216" y="1771228"/>
            <a:ext cx="10941604" cy="20170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20086" y="21600"/>
                </a:lnTo>
                <a:lnTo>
                  <a:pt x="20107" y="7551"/>
                </a:lnTo>
                <a:lnTo>
                  <a:pt x="0" y="755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699E4A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</a:endParaRPr>
          </a:p>
        </p:txBody>
      </p:sp>
      <p:sp>
        <p:nvSpPr>
          <p:cNvPr id="1519" name="CODIFICAÇÃO DE APLICAÇÕES…"/>
          <p:cNvSpPr txBox="1"/>
          <p:nvPr/>
        </p:nvSpPr>
        <p:spPr>
          <a:xfrm>
            <a:off x="738886" y="1943680"/>
            <a:ext cx="7256891" cy="3462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5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20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ODIFICAÇÃO DE APLICAÇÕES</a:t>
            </a:r>
          </a:p>
        </p:txBody>
      </p:sp>
      <p:sp>
        <p:nvSpPr>
          <p:cNvPr id="1520" name="Retângulo"/>
          <p:cNvSpPr/>
          <p:nvPr/>
        </p:nvSpPr>
        <p:spPr>
          <a:xfrm>
            <a:off x="536216" y="2609921"/>
            <a:ext cx="1512432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21" name="Retângulo"/>
          <p:cNvSpPr/>
          <p:nvPr/>
        </p:nvSpPr>
        <p:spPr>
          <a:xfrm>
            <a:off x="2121587" y="2609921"/>
            <a:ext cx="1284753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535353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22" name="Retângulo"/>
          <p:cNvSpPr/>
          <p:nvPr/>
        </p:nvSpPr>
        <p:spPr>
          <a:xfrm>
            <a:off x="3479277" y="2609921"/>
            <a:ext cx="1839105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grpSp>
        <p:nvGrpSpPr>
          <p:cNvPr id="1525" name="Retângulo 25"/>
          <p:cNvGrpSpPr/>
          <p:nvPr/>
        </p:nvGrpSpPr>
        <p:grpSpPr>
          <a:xfrm>
            <a:off x="548913" y="4000811"/>
            <a:ext cx="10903508" cy="764221"/>
            <a:chOff x="-1" y="-1"/>
            <a:chExt cx="10903507" cy="764220"/>
          </a:xfrm>
          <a:solidFill>
            <a:schemeClr val="accent1">
              <a:lumMod val="50000"/>
            </a:schemeClr>
          </a:solidFill>
        </p:grpSpPr>
        <p:sp>
          <p:nvSpPr>
            <p:cNvPr id="1523" name="Retângulo"/>
            <p:cNvSpPr/>
            <p:nvPr/>
          </p:nvSpPr>
          <p:spPr>
            <a:xfrm>
              <a:off x="-1" y="-1"/>
              <a:ext cx="10903507" cy="76422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1C7DBB"/>
                  </a:solidFill>
                </a:defRPr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</a:endParaRPr>
            </a:p>
          </p:txBody>
        </p:sp>
        <p:sp>
          <p:nvSpPr>
            <p:cNvPr id="1524" name="CAMADA TRANSPORTE…"/>
            <p:cNvSpPr txBox="1"/>
            <p:nvPr/>
          </p:nvSpPr>
          <p:spPr>
            <a:xfrm>
              <a:off x="82284" y="168215"/>
              <a:ext cx="10253678" cy="427788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82286" tIns="82286" rIns="82286" bIns="82286" numCol="1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700">
                  <a:solidFill>
                    <a:srgbClr val="59897D"/>
                  </a:solidFill>
                  <a:latin typeface="Gotham Bold"/>
                  <a:ea typeface="Gotham Bold"/>
                  <a:cs typeface="Gotham Bold"/>
                  <a:sym typeface="Gotham Bold"/>
                </a:defRPr>
              </a:pPr>
              <a:r>
                <a:rPr kumimoji="0" sz="1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CAMADA TRANSPORTE</a:t>
              </a:r>
            </a:p>
          </p:txBody>
        </p:sp>
      </p:grpSp>
      <p:grpSp>
        <p:nvGrpSpPr>
          <p:cNvPr id="1528" name="Retângulo 26">
            <a:hlinkClick r:id="rId2" action="ppaction://hlinksldjump"/>
          </p:cNvPr>
          <p:cNvGrpSpPr/>
          <p:nvPr/>
        </p:nvGrpSpPr>
        <p:grpSpPr>
          <a:xfrm>
            <a:off x="536213" y="4948188"/>
            <a:ext cx="5325670" cy="764221"/>
            <a:chOff x="-1" y="-1"/>
            <a:chExt cx="5325669" cy="764220"/>
          </a:xfrm>
          <a:solidFill>
            <a:schemeClr val="accent1">
              <a:lumMod val="50000"/>
            </a:schemeClr>
          </a:solidFill>
        </p:grpSpPr>
        <p:sp>
          <p:nvSpPr>
            <p:cNvPr id="1526" name="Retângulo"/>
            <p:cNvSpPr/>
            <p:nvPr/>
          </p:nvSpPr>
          <p:spPr>
            <a:xfrm>
              <a:off x="-1" y="-1"/>
              <a:ext cx="5325669" cy="76422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  <a:latin typeface="Segoe UI"/>
                  <a:ea typeface="Segoe UI"/>
                  <a:cs typeface="Segoe UI"/>
                  <a:sym typeface="Segoe UI"/>
                </a:defRPr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cs typeface="Segoe UI"/>
                <a:sym typeface="Segoe UI"/>
              </a:endParaRPr>
            </a:p>
          </p:txBody>
        </p:sp>
        <p:sp>
          <p:nvSpPr>
            <p:cNvPr id="1527" name="CAMADA FÍSICA (OVER-THE-AIR)…"/>
            <p:cNvSpPr txBox="1"/>
            <p:nvPr/>
          </p:nvSpPr>
          <p:spPr>
            <a:xfrm>
              <a:off x="128569" y="265881"/>
              <a:ext cx="5068528" cy="26237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6000" tIns="36000" rIns="36000" bIns="36000" numCol="1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700">
                  <a:solidFill>
                    <a:srgbClr val="FFFFFF"/>
                  </a:solidFill>
                  <a:latin typeface="Gotham Bold"/>
                  <a:ea typeface="Gotham Bold"/>
                  <a:cs typeface="Gotham Bold"/>
                  <a:sym typeface="Gotham Bold"/>
                </a:defRPr>
              </a:pPr>
              <a:r>
                <a:rPr kumimoji="0" sz="1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CAMADA FÍSICA (OVER-THE-AIR)</a:t>
              </a:r>
            </a:p>
          </p:txBody>
        </p:sp>
      </p:grpSp>
      <p:grpSp>
        <p:nvGrpSpPr>
          <p:cNvPr id="1531" name="Retângulo 27"/>
          <p:cNvGrpSpPr/>
          <p:nvPr/>
        </p:nvGrpSpPr>
        <p:grpSpPr>
          <a:xfrm>
            <a:off x="6152151" y="4948188"/>
            <a:ext cx="5325671" cy="764221"/>
            <a:chOff x="-1" y="-1"/>
            <a:chExt cx="5325669" cy="764220"/>
          </a:xfrm>
        </p:grpSpPr>
        <p:sp>
          <p:nvSpPr>
            <p:cNvPr id="1529" name="Retângulo"/>
            <p:cNvSpPr/>
            <p:nvPr/>
          </p:nvSpPr>
          <p:spPr>
            <a:xfrm>
              <a:off x="-1" y="-1"/>
              <a:ext cx="5325669" cy="764220"/>
            </a:xfrm>
            <a:prstGeom prst="rect">
              <a:avLst/>
            </a:prstGeom>
            <a:solidFill>
              <a:srgbClr val="06696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031060"/>
                  </a:solidFill>
                </a:defRPr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</a:endParaRPr>
            </a:p>
          </p:txBody>
        </p:sp>
        <p:sp>
          <p:nvSpPr>
            <p:cNvPr id="1530" name="INTERFACE BROADBAND…"/>
            <p:cNvSpPr txBox="1"/>
            <p:nvPr/>
          </p:nvSpPr>
          <p:spPr>
            <a:xfrm>
              <a:off x="128569" y="127955"/>
              <a:ext cx="5068528" cy="51282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6000" tIns="36000" rIns="36000" bIns="36000" numCol="1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700">
                  <a:solidFill>
                    <a:srgbClr val="122FF5"/>
                  </a:solidFill>
                  <a:latin typeface="Gotham Bold"/>
                  <a:ea typeface="Gotham Bold"/>
                  <a:cs typeface="Gotham Bold"/>
                  <a:sym typeface="Gotham Bold"/>
                </a:defRPr>
              </a:pPr>
              <a:r>
                <a:rPr kumimoji="0" sz="1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INTERFACE BROADBAND</a:t>
              </a:r>
            </a:p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00">
                  <a:solidFill>
                    <a:srgbClr val="122FF5"/>
                  </a:solidFill>
                  <a:latin typeface="Gotham Bold"/>
                  <a:ea typeface="Gotham Bold"/>
                  <a:cs typeface="Gotham Bold"/>
                  <a:sym typeface="Gotham Bold"/>
                </a:defRPr>
              </a:pPr>
              <a:r>
                <a:rPr kumimoji="0" sz="16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Utiliza</a:t>
              </a:r>
              <a:r>
                <a:rPr kumimoji="0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 a </a:t>
              </a:r>
              <a:r>
                <a:rPr kumimoji="0" sz="16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conectividade</a:t>
              </a:r>
              <a:r>
                <a:rPr kumimoji="0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 </a:t>
              </a:r>
              <a:r>
                <a:rPr kumimoji="0" sz="16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disponível</a:t>
              </a:r>
              <a:r>
                <a:rPr kumimoji="0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lobotipo Corporativa" panose="020B0503020202020204" pitchFamily="34" charset="0"/>
                  <a:sym typeface="Gotham Bold"/>
                </a:rPr>
                <a:t> </a:t>
              </a:r>
            </a:p>
          </p:txBody>
        </p:sp>
      </p:grpSp>
      <p:sp>
        <p:nvSpPr>
          <p:cNvPr id="1532" name="Retângulo"/>
          <p:cNvSpPr/>
          <p:nvPr/>
        </p:nvSpPr>
        <p:spPr>
          <a:xfrm>
            <a:off x="5391322" y="2609921"/>
            <a:ext cx="1289144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33" name="Retângulo"/>
          <p:cNvSpPr/>
          <p:nvPr/>
        </p:nvSpPr>
        <p:spPr>
          <a:xfrm>
            <a:off x="7809049" y="2609921"/>
            <a:ext cx="1421326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34" name="Retângulo"/>
          <p:cNvSpPr/>
          <p:nvPr/>
        </p:nvSpPr>
        <p:spPr>
          <a:xfrm>
            <a:off x="9303312" y="2609921"/>
            <a:ext cx="1289144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36" name="VIDEO BASE LAYER…"/>
          <p:cNvSpPr txBox="1"/>
          <p:nvPr/>
        </p:nvSpPr>
        <p:spPr>
          <a:xfrm>
            <a:off x="647860" y="2660721"/>
            <a:ext cx="1289144" cy="4056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VIDEO BASE LAYER</a:t>
            </a:r>
          </a:p>
        </p:txBody>
      </p:sp>
      <p:sp>
        <p:nvSpPr>
          <p:cNvPr id="1537" name="VIDEO ENHANCE-MENT…"/>
          <p:cNvSpPr txBox="1"/>
          <p:nvPr/>
        </p:nvSpPr>
        <p:spPr>
          <a:xfrm>
            <a:off x="2215510" y="2660721"/>
            <a:ext cx="1096907" cy="5903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VIDEO ENHANCE-MENT</a:t>
            </a:r>
          </a:p>
        </p:txBody>
      </p:sp>
      <p:sp>
        <p:nvSpPr>
          <p:cNvPr id="1538" name="HDR…"/>
          <p:cNvSpPr txBox="1"/>
          <p:nvPr/>
        </p:nvSpPr>
        <p:spPr>
          <a:xfrm>
            <a:off x="3517377" y="2648021"/>
            <a:ext cx="1699909" cy="221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spc="-36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-36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HDR</a:t>
            </a:r>
          </a:p>
        </p:txBody>
      </p:sp>
      <p:sp>
        <p:nvSpPr>
          <p:cNvPr id="1539" name="VR CODEC…"/>
          <p:cNvSpPr txBox="1"/>
          <p:nvPr/>
        </p:nvSpPr>
        <p:spPr>
          <a:xfrm>
            <a:off x="5429422" y="2660721"/>
            <a:ext cx="1289144" cy="221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VR CODEC</a:t>
            </a:r>
          </a:p>
        </p:txBody>
      </p:sp>
      <p:sp>
        <p:nvSpPr>
          <p:cNvPr id="1540" name="Retângulo"/>
          <p:cNvSpPr/>
          <p:nvPr/>
        </p:nvSpPr>
        <p:spPr>
          <a:xfrm>
            <a:off x="6747055" y="2609921"/>
            <a:ext cx="982705" cy="116879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1541" name="ÁUDIO…"/>
          <p:cNvSpPr txBox="1"/>
          <p:nvPr/>
        </p:nvSpPr>
        <p:spPr>
          <a:xfrm>
            <a:off x="7847149" y="2660721"/>
            <a:ext cx="1421326" cy="221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ÁUDIO</a:t>
            </a:r>
          </a:p>
        </p:txBody>
      </p:sp>
      <p:sp>
        <p:nvSpPr>
          <p:cNvPr id="1542" name="LEGENDAS…"/>
          <p:cNvSpPr txBox="1"/>
          <p:nvPr/>
        </p:nvSpPr>
        <p:spPr>
          <a:xfrm>
            <a:off x="9341412" y="2673421"/>
            <a:ext cx="1212944" cy="221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LEGENDAS</a:t>
            </a:r>
          </a:p>
        </p:txBody>
      </p:sp>
      <p:sp>
        <p:nvSpPr>
          <p:cNvPr id="1543" name="EWS…"/>
          <p:cNvSpPr txBox="1"/>
          <p:nvPr/>
        </p:nvSpPr>
        <p:spPr>
          <a:xfrm>
            <a:off x="6753404" y="2660721"/>
            <a:ext cx="982705" cy="221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18000" tIns="18000" rIns="18000" bIns="18000">
            <a:spAutoFit/>
          </a:bodyPr>
          <a:lstStyle/>
          <a:p>
            <a:pPr marL="63500" marR="635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Gotham Bold"/>
                <a:ea typeface="Gotham Bold"/>
                <a:cs typeface="Gotham Bold"/>
                <a:sym typeface="Gotham Bold"/>
              </a:defRPr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EWS</a:t>
            </a:r>
          </a:p>
        </p:txBody>
      </p:sp>
      <p:sp>
        <p:nvSpPr>
          <p:cNvPr id="5" name="Título 7">
            <a:extLst>
              <a:ext uri="{FF2B5EF4-FFF2-40B4-BE49-F238E27FC236}">
                <a16:creationId xmlns:a16="http://schemas.microsoft.com/office/drawing/2014/main" id="{43D8314D-A3EE-B89D-F5EC-3641B620B8F3}"/>
              </a:ext>
            </a:extLst>
          </p:cNvPr>
          <p:cNvSpPr txBox="1">
            <a:spLocks/>
          </p:cNvSpPr>
          <p:nvPr/>
        </p:nvSpPr>
        <p:spPr>
          <a:xfrm>
            <a:off x="545270" y="592434"/>
            <a:ext cx="9150393" cy="640080"/>
          </a:xfrm>
          <a:prstGeom prst="rect">
            <a:avLst/>
          </a:prstGeom>
        </p:spPr>
        <p:txBody>
          <a:bodyPr rtlCol="0"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</a:rPr>
              <a:t>MAPA DE TECNOLOGIAS</a:t>
            </a:r>
          </a:p>
        </p:txBody>
      </p:sp>
      <p:pic>
        <p:nvPicPr>
          <p:cNvPr id="4" name="Picture 2" descr="Fórum SBTVD | T.V 2.5 English">
            <a:extLst>
              <a:ext uri="{FF2B5EF4-FFF2-40B4-BE49-F238E27FC236}">
                <a16:creationId xmlns:a16="http://schemas.microsoft.com/office/drawing/2014/main" id="{BC58EB33-D14B-D54F-A8B7-5793713A0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833" y="168472"/>
            <a:ext cx="1352088" cy="44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8" name="Picture 2" descr="Brasil Logo PNG Vector (CDR) Free Download">
            <a:extLst>
              <a:ext uri="{FF2B5EF4-FFF2-40B4-BE49-F238E27FC236}">
                <a16:creationId xmlns:a16="http://schemas.microsoft.com/office/drawing/2014/main" id="{C12FFD12-1E47-DECA-75E7-3714E5B7A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331" y="1990372"/>
            <a:ext cx="409606" cy="265730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04D6FB6-B229-25CB-C2E1-2CA192A28A14}"/>
              </a:ext>
            </a:extLst>
          </p:cNvPr>
          <p:cNvGrpSpPr/>
          <p:nvPr/>
        </p:nvGrpSpPr>
        <p:grpSpPr>
          <a:xfrm>
            <a:off x="480705" y="1633281"/>
            <a:ext cx="10997115" cy="4884006"/>
            <a:chOff x="530102" y="1381560"/>
            <a:chExt cx="10997115" cy="4884006"/>
          </a:xfrm>
        </p:grpSpPr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57CE1E10-31B2-620F-5550-621D385D66E3}"/>
                </a:ext>
              </a:extLst>
            </p:cNvPr>
            <p:cNvSpPr/>
            <p:nvPr/>
          </p:nvSpPr>
          <p:spPr>
            <a:xfrm>
              <a:off x="530102" y="1381560"/>
              <a:ext cx="10997115" cy="4884006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9" name="Gráfico 8">
              <a:extLst>
                <a:ext uri="{FF2B5EF4-FFF2-40B4-BE49-F238E27FC236}">
                  <a16:creationId xmlns:a16="http://schemas.microsoft.com/office/drawing/2014/main" id="{8AAE9A96-6658-D755-0BE4-E0051DAAB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18939"/>
            <a:stretch/>
          </p:blipFill>
          <p:spPr>
            <a:xfrm>
              <a:off x="2748837" y="2707972"/>
              <a:ext cx="2344988" cy="2376739"/>
            </a:xfrm>
            <a:prstGeom prst="rect">
              <a:avLst/>
            </a:prstGeom>
          </p:spPr>
        </p:pic>
        <p:sp>
          <p:nvSpPr>
            <p:cNvPr id="16" name="Título 7">
              <a:extLst>
                <a:ext uri="{FF2B5EF4-FFF2-40B4-BE49-F238E27FC236}">
                  <a16:creationId xmlns:a16="http://schemas.microsoft.com/office/drawing/2014/main" id="{61ABCB4F-A0A4-E3EA-6634-99879D3F7B22}"/>
                </a:ext>
              </a:extLst>
            </p:cNvPr>
            <p:cNvSpPr txBox="1">
              <a:spLocks/>
            </p:cNvSpPr>
            <p:nvPr/>
          </p:nvSpPr>
          <p:spPr>
            <a:xfrm>
              <a:off x="5785104" y="2898661"/>
              <a:ext cx="4794457" cy="665820"/>
            </a:xfrm>
            <a:prstGeom prst="rect">
              <a:avLst/>
            </a:prstGeom>
          </p:spPr>
          <p:txBody>
            <a:bodyPr rtlCol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6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600" b="1" i="0" u="none" strike="noStrike" kern="1200" cap="none" spc="0" normalizeH="0" baseline="0" noProof="0">
                  <a:ln>
                    <a:noFill/>
                  </a:ln>
                  <a:solidFill>
                    <a:srgbClr val="004042"/>
                  </a:solidFill>
                  <a:effectLst/>
                  <a:uLnTx/>
                  <a:uFillTx/>
                  <a:latin typeface="Globotipo Corporativa" panose="020B0503020202020204" pitchFamily="34" charset="0"/>
                </a:rPr>
                <a:t>100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6600" b="1">
                  <a:solidFill>
                    <a:srgbClr val="004042"/>
                  </a:solidFill>
                  <a:latin typeface="Globotipo Corporativa" panose="020B0503020202020204" pitchFamily="34" charset="0"/>
                </a:rPr>
                <a:t>completo</a:t>
              </a:r>
              <a:endParaRPr kumimoji="0" lang="pt-BR" sz="6600" b="1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 idx="4294967295"/>
          </p:nvPr>
        </p:nvSpPr>
        <p:spPr>
          <a:xfrm>
            <a:off x="472714" y="592751"/>
            <a:ext cx="9150350" cy="639763"/>
          </a:xfrm>
          <a:prstGeom prst="rect">
            <a:avLst/>
          </a:prstGeom>
        </p:spPr>
        <p:txBody>
          <a:bodyPr rtlCol="0"/>
          <a:lstStyle/>
          <a:p>
            <a:pPr algn="l" defTabSz="914400">
              <a:lnSpc>
                <a:spcPct val="100000"/>
              </a:lnSpc>
            </a:pPr>
            <a:r>
              <a:rPr lang="pt-BR" sz="4000" b="1">
                <a:solidFill>
                  <a:srgbClr val="004042"/>
                </a:solidFill>
                <a:latin typeface="Globotipo Corporativa" panose="020B0503020202020204" pitchFamily="34" charset="0"/>
              </a:rPr>
              <a:t>PROJETOS DE NORMA DA TV3.0</a:t>
            </a:r>
          </a:p>
        </p:txBody>
      </p:sp>
      <p:sp>
        <p:nvSpPr>
          <p:cNvPr id="16" name="Espaço Reservado para Conteúdo 17"/>
          <p:cNvSpPr txBox="1">
            <a:spLocks/>
          </p:cNvSpPr>
          <p:nvPr/>
        </p:nvSpPr>
        <p:spPr>
          <a:xfrm>
            <a:off x="473080" y="1414195"/>
            <a:ext cx="9129991" cy="6019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cs typeface="Segoe UI" panose="020B0502040204020203" pitchFamily="34" charset="0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cs typeface="Segoe UI" panose="020B0502040204020203" pitchFamily="34" charset="0"/>
              </a:rPr>
              <a:t>NOVE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cs typeface="Segoe UI" panose="020B0502040204020203" pitchFamily="34" charset="0"/>
              </a:rPr>
              <a:t> projetos de normas técnicas concluídos em novembro de 2024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4" name="Imagem 54" descr="Imagem 54">
            <a:extLst>
              <a:ext uri="{FF2B5EF4-FFF2-40B4-BE49-F238E27FC236}">
                <a16:creationId xmlns:a16="http://schemas.microsoft.com/office/drawing/2014/main" id="{AB67C430-01E3-4489-8EC6-25363AD538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477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5" name="Imagem 55" descr="Imagem 55">
            <a:extLst>
              <a:ext uri="{FF2B5EF4-FFF2-40B4-BE49-F238E27FC236}">
                <a16:creationId xmlns:a16="http://schemas.microsoft.com/office/drawing/2014/main" id="{CE867463-837A-3AB4-4575-512B0378B0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33646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6" name="Imagem 56" descr="Imagem 56">
            <a:extLst>
              <a:ext uri="{FF2B5EF4-FFF2-40B4-BE49-F238E27FC236}">
                <a16:creationId xmlns:a16="http://schemas.microsoft.com/office/drawing/2014/main" id="{0C9184D6-4C45-31D9-4FF6-F1A9FA5E5F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991286" y="2789945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7" name="Imagem 60" descr="Imagem 60">
            <a:extLst>
              <a:ext uri="{FF2B5EF4-FFF2-40B4-BE49-F238E27FC236}">
                <a16:creationId xmlns:a16="http://schemas.microsoft.com/office/drawing/2014/main" id="{6D606794-6A03-07E3-59F8-57F7D18E07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45984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9" name="Imagem 61" descr="Imagem 61">
            <a:extLst>
              <a:ext uri="{FF2B5EF4-FFF2-40B4-BE49-F238E27FC236}">
                <a16:creationId xmlns:a16="http://schemas.microsoft.com/office/drawing/2014/main" id="{D7A38F1E-F8B5-770C-5F5E-17FFD5D8B8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2153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10" name="Imagem 62" descr="Imagem 62">
            <a:extLst>
              <a:ext uri="{FF2B5EF4-FFF2-40B4-BE49-F238E27FC236}">
                <a16:creationId xmlns:a16="http://schemas.microsoft.com/office/drawing/2014/main" id="{89071017-6829-003B-6230-DE6DCC6366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58321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11" name="Imagem 63" descr="Imagem 63">
            <a:extLst>
              <a:ext uri="{FF2B5EF4-FFF2-40B4-BE49-F238E27FC236}">
                <a16:creationId xmlns:a16="http://schemas.microsoft.com/office/drawing/2014/main" id="{76C7868E-B541-4D6E-9F3B-0AE05AF25B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014490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12" name="Imagem 64" descr="Imagem 64">
            <a:extLst>
              <a:ext uri="{FF2B5EF4-FFF2-40B4-BE49-F238E27FC236}">
                <a16:creationId xmlns:a16="http://schemas.microsoft.com/office/drawing/2014/main" id="{C2E8D81D-92C5-CA6C-5DF0-B5B8FC01D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70659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pic>
        <p:nvPicPr>
          <p:cNvPr id="13" name="Imagem 65" descr="Imagem 65">
            <a:extLst>
              <a:ext uri="{FF2B5EF4-FFF2-40B4-BE49-F238E27FC236}">
                <a16:creationId xmlns:a16="http://schemas.microsoft.com/office/drawing/2014/main" id="{04A9B668-87FF-0BC5-308B-0A0F52D5D4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526829" y="2789946"/>
            <a:ext cx="1100236" cy="1472623"/>
          </a:xfrm>
          <a:prstGeom prst="rect">
            <a:avLst/>
          </a:prstGeom>
          <a:ln>
            <a:solidFill>
              <a:srgbClr val="BFBFBF"/>
            </a:solidFill>
          </a:ln>
        </p:spPr>
      </p:pic>
      <p:sp>
        <p:nvSpPr>
          <p:cNvPr id="14" name="CaixaDeTexto 66">
            <a:extLst>
              <a:ext uri="{FF2B5EF4-FFF2-40B4-BE49-F238E27FC236}">
                <a16:creationId xmlns:a16="http://schemas.microsoft.com/office/drawing/2014/main" id="{DB36F7A4-3897-34AB-2669-C5A29940A810}"/>
              </a:ext>
            </a:extLst>
          </p:cNvPr>
          <p:cNvSpPr txBox="1"/>
          <p:nvPr/>
        </p:nvSpPr>
        <p:spPr>
          <a:xfrm>
            <a:off x="477223" y="2233952"/>
            <a:ext cx="1100236" cy="241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AMADA FÍSICA</a:t>
            </a:r>
          </a:p>
        </p:txBody>
      </p:sp>
      <p:sp>
        <p:nvSpPr>
          <p:cNvPr id="15" name="CaixaDeTexto 68">
            <a:extLst>
              <a:ext uri="{FF2B5EF4-FFF2-40B4-BE49-F238E27FC236}">
                <a16:creationId xmlns:a16="http://schemas.microsoft.com/office/drawing/2014/main" id="{5970D155-9A70-B308-46DB-33774C327044}"/>
              </a:ext>
            </a:extLst>
          </p:cNvPr>
          <p:cNvSpPr txBox="1"/>
          <p:nvPr/>
        </p:nvSpPr>
        <p:spPr>
          <a:xfrm>
            <a:off x="1695913" y="2233952"/>
            <a:ext cx="1100236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AMADA DE TRANSPORTE</a:t>
            </a:r>
          </a:p>
        </p:txBody>
      </p:sp>
      <p:sp>
        <p:nvSpPr>
          <p:cNvPr id="17" name="CaixaDeTexto 69">
            <a:extLst>
              <a:ext uri="{FF2B5EF4-FFF2-40B4-BE49-F238E27FC236}">
                <a16:creationId xmlns:a16="http://schemas.microsoft.com/office/drawing/2014/main" id="{0F612358-BC10-8F21-AFC4-76E15BF55B67}"/>
              </a:ext>
            </a:extLst>
          </p:cNvPr>
          <p:cNvSpPr txBox="1"/>
          <p:nvPr/>
        </p:nvSpPr>
        <p:spPr>
          <a:xfrm>
            <a:off x="2956938" y="2233952"/>
            <a:ext cx="1134584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ODIFICAÇÃO DE VÍDEO</a:t>
            </a:r>
          </a:p>
        </p:txBody>
      </p:sp>
      <p:sp>
        <p:nvSpPr>
          <p:cNvPr id="18" name="CaixaDeTexto 70">
            <a:extLst>
              <a:ext uri="{FF2B5EF4-FFF2-40B4-BE49-F238E27FC236}">
                <a16:creationId xmlns:a16="http://schemas.microsoft.com/office/drawing/2014/main" id="{00B0E572-560E-0899-F3EA-A4C4D87A4D4A}"/>
              </a:ext>
            </a:extLst>
          </p:cNvPr>
          <p:cNvSpPr txBox="1"/>
          <p:nvPr/>
        </p:nvSpPr>
        <p:spPr>
          <a:xfrm>
            <a:off x="4217964" y="2233952"/>
            <a:ext cx="1128256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ODIFICAÇÃO DE ÁUDIO</a:t>
            </a:r>
          </a:p>
        </p:txBody>
      </p:sp>
      <p:sp>
        <p:nvSpPr>
          <p:cNvPr id="19" name="CaixaDeTexto 72">
            <a:extLst>
              <a:ext uri="{FF2B5EF4-FFF2-40B4-BE49-F238E27FC236}">
                <a16:creationId xmlns:a16="http://schemas.microsoft.com/office/drawing/2014/main" id="{CADEA2DE-CFB9-7897-38E7-C66FA4C43681}"/>
              </a:ext>
            </a:extLst>
          </p:cNvPr>
          <p:cNvSpPr txBox="1"/>
          <p:nvPr/>
        </p:nvSpPr>
        <p:spPr>
          <a:xfrm>
            <a:off x="6740014" y="2233952"/>
            <a:ext cx="1100236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LÍNGUA DE SINAIS</a:t>
            </a:r>
          </a:p>
        </p:txBody>
      </p:sp>
      <p:sp>
        <p:nvSpPr>
          <p:cNvPr id="20" name="CaixaDeTexto 73">
            <a:extLst>
              <a:ext uri="{FF2B5EF4-FFF2-40B4-BE49-F238E27FC236}">
                <a16:creationId xmlns:a16="http://schemas.microsoft.com/office/drawing/2014/main" id="{E0BC09A0-0748-5B94-9FE6-0115BBACA04A}"/>
              </a:ext>
            </a:extLst>
          </p:cNvPr>
          <p:cNvSpPr txBox="1"/>
          <p:nvPr/>
        </p:nvSpPr>
        <p:spPr>
          <a:xfrm>
            <a:off x="8001038" y="2233952"/>
            <a:ext cx="1100236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SISTEMA DE EMERGÊNCIA</a:t>
            </a:r>
          </a:p>
        </p:txBody>
      </p:sp>
      <p:sp>
        <p:nvSpPr>
          <p:cNvPr id="21" name="CaixaDeTexto 74">
            <a:extLst>
              <a:ext uri="{FF2B5EF4-FFF2-40B4-BE49-F238E27FC236}">
                <a16:creationId xmlns:a16="http://schemas.microsoft.com/office/drawing/2014/main" id="{0A76E86B-46A3-8994-1C3B-EBDE169EE89E}"/>
              </a:ext>
            </a:extLst>
          </p:cNvPr>
          <p:cNvSpPr txBox="1"/>
          <p:nvPr/>
        </p:nvSpPr>
        <p:spPr>
          <a:xfrm>
            <a:off x="9262063" y="2233952"/>
            <a:ext cx="1234023" cy="411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CODIFICAÇÃO  APLICAÇÕES</a:t>
            </a:r>
          </a:p>
        </p:txBody>
      </p:sp>
      <p:sp>
        <p:nvSpPr>
          <p:cNvPr id="22" name="CaixaDeTexto 75">
            <a:extLst>
              <a:ext uri="{FF2B5EF4-FFF2-40B4-BE49-F238E27FC236}">
                <a16:creationId xmlns:a16="http://schemas.microsoft.com/office/drawing/2014/main" id="{21C21F28-FEDE-6682-4D81-58328E174C82}"/>
              </a:ext>
            </a:extLst>
          </p:cNvPr>
          <p:cNvSpPr txBox="1"/>
          <p:nvPr/>
        </p:nvSpPr>
        <p:spPr>
          <a:xfrm>
            <a:off x="10523091" y="2233952"/>
            <a:ext cx="1100236" cy="241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RECEPTORES</a:t>
            </a:r>
          </a:p>
        </p:txBody>
      </p:sp>
      <p:sp>
        <p:nvSpPr>
          <p:cNvPr id="23" name="Oval 33">
            <a:extLst>
              <a:ext uri="{FF2B5EF4-FFF2-40B4-BE49-F238E27FC236}">
                <a16:creationId xmlns:a16="http://schemas.microsoft.com/office/drawing/2014/main" id="{42ECD94F-2713-7032-8FD7-84A459514946}"/>
              </a:ext>
            </a:extLst>
          </p:cNvPr>
          <p:cNvSpPr/>
          <p:nvPr/>
        </p:nvSpPr>
        <p:spPr>
          <a:xfrm>
            <a:off x="819893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4" name="Oval 33">
            <a:extLst>
              <a:ext uri="{FF2B5EF4-FFF2-40B4-BE49-F238E27FC236}">
                <a16:creationId xmlns:a16="http://schemas.microsoft.com/office/drawing/2014/main" id="{F674D21A-1398-2727-D808-8CF0814B7F2D}"/>
              </a:ext>
            </a:extLst>
          </p:cNvPr>
          <p:cNvSpPr/>
          <p:nvPr/>
        </p:nvSpPr>
        <p:spPr>
          <a:xfrm>
            <a:off x="2075627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5" name="Oval 33">
            <a:extLst>
              <a:ext uri="{FF2B5EF4-FFF2-40B4-BE49-F238E27FC236}">
                <a16:creationId xmlns:a16="http://schemas.microsoft.com/office/drawing/2014/main" id="{92C251D0-3D19-FF06-BC0B-B4E5EFC2746E}"/>
              </a:ext>
            </a:extLst>
          </p:cNvPr>
          <p:cNvSpPr/>
          <p:nvPr/>
        </p:nvSpPr>
        <p:spPr>
          <a:xfrm>
            <a:off x="3331360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6" name="Oval 33">
            <a:extLst>
              <a:ext uri="{FF2B5EF4-FFF2-40B4-BE49-F238E27FC236}">
                <a16:creationId xmlns:a16="http://schemas.microsoft.com/office/drawing/2014/main" id="{F434AD7B-69FA-D545-9D74-9979A11D0998}"/>
              </a:ext>
            </a:extLst>
          </p:cNvPr>
          <p:cNvSpPr/>
          <p:nvPr/>
        </p:nvSpPr>
        <p:spPr>
          <a:xfrm>
            <a:off x="4587095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7" name="Oval 33">
            <a:extLst>
              <a:ext uri="{FF2B5EF4-FFF2-40B4-BE49-F238E27FC236}">
                <a16:creationId xmlns:a16="http://schemas.microsoft.com/office/drawing/2014/main" id="{F7A5170E-871A-D4A6-A80F-35458901C275}"/>
              </a:ext>
            </a:extLst>
          </p:cNvPr>
          <p:cNvSpPr/>
          <p:nvPr/>
        </p:nvSpPr>
        <p:spPr>
          <a:xfrm>
            <a:off x="5842829" y="4416624"/>
            <a:ext cx="409838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8" name="Oval 33">
            <a:extLst>
              <a:ext uri="{FF2B5EF4-FFF2-40B4-BE49-F238E27FC236}">
                <a16:creationId xmlns:a16="http://schemas.microsoft.com/office/drawing/2014/main" id="{DCC97A0A-DBAB-AD34-B44B-7D6395C1410A}"/>
              </a:ext>
            </a:extLst>
          </p:cNvPr>
          <p:cNvSpPr/>
          <p:nvPr/>
        </p:nvSpPr>
        <p:spPr>
          <a:xfrm>
            <a:off x="7098562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9" name="Oval 33">
            <a:extLst>
              <a:ext uri="{FF2B5EF4-FFF2-40B4-BE49-F238E27FC236}">
                <a16:creationId xmlns:a16="http://schemas.microsoft.com/office/drawing/2014/main" id="{56C4854E-53DA-A84A-5B47-7DF5710792E4}"/>
              </a:ext>
            </a:extLst>
          </p:cNvPr>
          <p:cNvSpPr/>
          <p:nvPr/>
        </p:nvSpPr>
        <p:spPr>
          <a:xfrm>
            <a:off x="8354297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30" name="Oval 33">
            <a:extLst>
              <a:ext uri="{FF2B5EF4-FFF2-40B4-BE49-F238E27FC236}">
                <a16:creationId xmlns:a16="http://schemas.microsoft.com/office/drawing/2014/main" id="{C9B5652E-BC05-E052-81C7-1CD1C6B736BB}"/>
              </a:ext>
            </a:extLst>
          </p:cNvPr>
          <p:cNvSpPr/>
          <p:nvPr/>
        </p:nvSpPr>
        <p:spPr>
          <a:xfrm>
            <a:off x="9610030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31" name="Oval 33">
            <a:extLst>
              <a:ext uri="{FF2B5EF4-FFF2-40B4-BE49-F238E27FC236}">
                <a16:creationId xmlns:a16="http://schemas.microsoft.com/office/drawing/2014/main" id="{FDFB9B5B-FED5-3754-6AC5-8DBA7CE9953B}"/>
              </a:ext>
            </a:extLst>
          </p:cNvPr>
          <p:cNvSpPr/>
          <p:nvPr/>
        </p:nvSpPr>
        <p:spPr>
          <a:xfrm>
            <a:off x="10865761" y="4416624"/>
            <a:ext cx="409839" cy="409839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32" name="Retângulo 1">
            <a:extLst>
              <a:ext uri="{FF2B5EF4-FFF2-40B4-BE49-F238E27FC236}">
                <a16:creationId xmlns:a16="http://schemas.microsoft.com/office/drawing/2014/main" id="{EA0C7724-F5EA-1D42-2C3C-3A5A89DF5F8E}"/>
              </a:ext>
            </a:extLst>
          </p:cNvPr>
          <p:cNvSpPr/>
          <p:nvPr/>
        </p:nvSpPr>
        <p:spPr>
          <a:xfrm>
            <a:off x="4241727" y="2789945"/>
            <a:ext cx="1105200" cy="147240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33" name="Retângulo 3">
            <a:extLst>
              <a:ext uri="{FF2B5EF4-FFF2-40B4-BE49-F238E27FC236}">
                <a16:creationId xmlns:a16="http://schemas.microsoft.com/office/drawing/2014/main" id="{525CF0FD-9B51-4644-31CC-77DD29522669}"/>
              </a:ext>
            </a:extLst>
          </p:cNvPr>
          <p:cNvSpPr/>
          <p:nvPr/>
        </p:nvSpPr>
        <p:spPr>
          <a:xfrm>
            <a:off x="5504762" y="2789945"/>
            <a:ext cx="1101600" cy="147240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35" name="CaixaDeTexto 11">
            <a:extLst>
              <a:ext uri="{FF2B5EF4-FFF2-40B4-BE49-F238E27FC236}">
                <a16:creationId xmlns:a16="http://schemas.microsoft.com/office/drawing/2014/main" id="{08AD03F3-53DF-7402-4887-01ED17948A02}"/>
              </a:ext>
            </a:extLst>
          </p:cNvPr>
          <p:cNvSpPr txBox="1"/>
          <p:nvPr/>
        </p:nvSpPr>
        <p:spPr>
          <a:xfrm>
            <a:off x="657924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C00000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%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sym typeface="Gotham Bold"/>
            </a:endParaRPr>
          </a:p>
        </p:txBody>
      </p:sp>
      <p:sp>
        <p:nvSpPr>
          <p:cNvPr id="36" name="CaixaDeTexto 12">
            <a:extLst>
              <a:ext uri="{FF2B5EF4-FFF2-40B4-BE49-F238E27FC236}">
                <a16:creationId xmlns:a16="http://schemas.microsoft.com/office/drawing/2014/main" id="{4FE88717-3B4E-E806-FB18-2B5D19A459CC}"/>
              </a:ext>
            </a:extLst>
          </p:cNvPr>
          <p:cNvSpPr txBox="1"/>
          <p:nvPr/>
        </p:nvSpPr>
        <p:spPr>
          <a:xfrm>
            <a:off x="1914543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BF9000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37" name="CaixaDeTexto 13">
            <a:extLst>
              <a:ext uri="{FF2B5EF4-FFF2-40B4-BE49-F238E27FC236}">
                <a16:creationId xmlns:a16="http://schemas.microsoft.com/office/drawing/2014/main" id="{0E6E826C-1FD6-918D-A093-D3347707616F}"/>
              </a:ext>
            </a:extLst>
          </p:cNvPr>
          <p:cNvSpPr txBox="1"/>
          <p:nvPr/>
        </p:nvSpPr>
        <p:spPr>
          <a:xfrm>
            <a:off x="3241498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385724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38" name="CaixaDeTexto 14">
            <a:extLst>
              <a:ext uri="{FF2B5EF4-FFF2-40B4-BE49-F238E27FC236}">
                <a16:creationId xmlns:a16="http://schemas.microsoft.com/office/drawing/2014/main" id="{C4CB2182-854C-C1E9-0894-BD83D8B910F3}"/>
              </a:ext>
            </a:extLst>
          </p:cNvPr>
          <p:cNvSpPr txBox="1"/>
          <p:nvPr/>
        </p:nvSpPr>
        <p:spPr>
          <a:xfrm>
            <a:off x="4498117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385724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0%</a:t>
            </a:r>
          </a:p>
        </p:txBody>
      </p:sp>
      <p:sp>
        <p:nvSpPr>
          <p:cNvPr id="39" name="CaixaDeTexto 16">
            <a:extLst>
              <a:ext uri="{FF2B5EF4-FFF2-40B4-BE49-F238E27FC236}">
                <a16:creationId xmlns:a16="http://schemas.microsoft.com/office/drawing/2014/main" id="{C1C576D0-BF01-B0A5-9E1F-B5F01E91719F}"/>
              </a:ext>
            </a:extLst>
          </p:cNvPr>
          <p:cNvSpPr txBox="1"/>
          <p:nvPr/>
        </p:nvSpPr>
        <p:spPr>
          <a:xfrm>
            <a:off x="5754736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385724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0%</a:t>
            </a:r>
          </a:p>
        </p:txBody>
      </p:sp>
      <p:sp>
        <p:nvSpPr>
          <p:cNvPr id="40" name="CaixaDeTexto 17">
            <a:extLst>
              <a:ext uri="{FF2B5EF4-FFF2-40B4-BE49-F238E27FC236}">
                <a16:creationId xmlns:a16="http://schemas.microsoft.com/office/drawing/2014/main" id="{B331E73F-7418-F902-D0A2-0EC4F7625797}"/>
              </a:ext>
            </a:extLst>
          </p:cNvPr>
          <p:cNvSpPr txBox="1"/>
          <p:nvPr/>
        </p:nvSpPr>
        <p:spPr>
          <a:xfrm>
            <a:off x="6993770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385724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41" name="CaixaDeTexto 18">
            <a:extLst>
              <a:ext uri="{FF2B5EF4-FFF2-40B4-BE49-F238E27FC236}">
                <a16:creationId xmlns:a16="http://schemas.microsoft.com/office/drawing/2014/main" id="{DE335D0F-6B62-C652-1C85-8D31D1AF694C}"/>
              </a:ext>
            </a:extLst>
          </p:cNvPr>
          <p:cNvSpPr txBox="1"/>
          <p:nvPr/>
        </p:nvSpPr>
        <p:spPr>
          <a:xfrm>
            <a:off x="10781212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C00000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4042"/>
                </a:solidFill>
                <a:latin typeface="Globotipo Corporativa" panose="020B0503020202020204" pitchFamily="34" charset="0"/>
              </a:rPr>
              <a:t>1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0</a:t>
            </a: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42" name="CaixaDeTexto 19">
            <a:extLst>
              <a:ext uri="{FF2B5EF4-FFF2-40B4-BE49-F238E27FC236}">
                <a16:creationId xmlns:a16="http://schemas.microsoft.com/office/drawing/2014/main" id="{F2F378E3-2B60-FAD7-40DD-8FE6E7A7B664}"/>
              </a:ext>
            </a:extLst>
          </p:cNvPr>
          <p:cNvSpPr txBox="1"/>
          <p:nvPr/>
        </p:nvSpPr>
        <p:spPr>
          <a:xfrm>
            <a:off x="8215221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385724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</a:t>
            </a: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43" name="CaixaDeTexto 20">
            <a:extLst>
              <a:ext uri="{FF2B5EF4-FFF2-40B4-BE49-F238E27FC236}">
                <a16:creationId xmlns:a16="http://schemas.microsoft.com/office/drawing/2014/main" id="{93F8CCF9-25E1-8135-1B3C-D2962044DF99}"/>
              </a:ext>
            </a:extLst>
          </p:cNvPr>
          <p:cNvSpPr txBox="1"/>
          <p:nvPr/>
        </p:nvSpPr>
        <p:spPr>
          <a:xfrm>
            <a:off x="9524592" y="4842753"/>
            <a:ext cx="72712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>
                <a:solidFill>
                  <a:srgbClr val="BF9000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100</a:t>
            </a: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%</a:t>
            </a:r>
          </a:p>
        </p:txBody>
      </p:sp>
      <p:sp>
        <p:nvSpPr>
          <p:cNvPr id="44" name="CaixaDeTexto 21">
            <a:extLst>
              <a:ext uri="{FF2B5EF4-FFF2-40B4-BE49-F238E27FC236}">
                <a16:creationId xmlns:a16="http://schemas.microsoft.com/office/drawing/2014/main" id="{267CCE65-1979-E1C3-EC6A-E50485DAF7D1}"/>
              </a:ext>
            </a:extLst>
          </p:cNvPr>
          <p:cNvSpPr txBox="1"/>
          <p:nvPr/>
        </p:nvSpPr>
        <p:spPr>
          <a:xfrm>
            <a:off x="5478989" y="2233952"/>
            <a:ext cx="1100236" cy="241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6000" tIns="36000" rIns="36000" bIns="36000">
            <a:spAutoFit/>
          </a:bodyPr>
          <a:lstStyle>
            <a:lvl1pPr>
              <a:defRPr sz="1000">
                <a:solidFill>
                  <a:srgbClr val="6CA896"/>
                </a:solidFill>
                <a:latin typeface="Gotham Bold"/>
                <a:ea typeface="Gotham Bold"/>
                <a:cs typeface="Gotham Bold"/>
                <a:sym typeface="Gotham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lobotipo Corporativa" panose="020B0503020202020204" pitchFamily="34" charset="0"/>
                <a:sym typeface="Gotham Bold"/>
              </a:rPr>
              <a:t>LEGENDAS</a:t>
            </a:r>
          </a:p>
        </p:txBody>
      </p:sp>
      <p:sp>
        <p:nvSpPr>
          <p:cNvPr id="45" name="Caixa de texto 34">
            <a:extLst>
              <a:ext uri="{FF2B5EF4-FFF2-40B4-BE49-F238E27FC236}">
                <a16:creationId xmlns:a16="http://schemas.microsoft.com/office/drawing/2014/main" id="{1EEBBA81-8B0D-1744-0FA7-F69E655909E1}"/>
              </a:ext>
            </a:extLst>
          </p:cNvPr>
          <p:cNvSpPr txBox="1"/>
          <p:nvPr/>
        </p:nvSpPr>
        <p:spPr>
          <a:xfrm>
            <a:off x="793970" y="4516734"/>
            <a:ext cx="466740" cy="233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1</a:t>
            </a:r>
          </a:p>
        </p:txBody>
      </p:sp>
      <p:sp>
        <p:nvSpPr>
          <p:cNvPr id="46" name="Caixa de texto 34">
            <a:extLst>
              <a:ext uri="{FF2B5EF4-FFF2-40B4-BE49-F238E27FC236}">
                <a16:creationId xmlns:a16="http://schemas.microsoft.com/office/drawing/2014/main" id="{E226F49F-2F41-51B8-90CF-B5129BB71891}"/>
              </a:ext>
            </a:extLst>
          </p:cNvPr>
          <p:cNvSpPr txBox="1"/>
          <p:nvPr/>
        </p:nvSpPr>
        <p:spPr>
          <a:xfrm>
            <a:off x="2049704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2</a:t>
            </a:r>
          </a:p>
        </p:txBody>
      </p:sp>
      <p:sp>
        <p:nvSpPr>
          <p:cNvPr id="47" name="Caixa de texto 34">
            <a:extLst>
              <a:ext uri="{FF2B5EF4-FFF2-40B4-BE49-F238E27FC236}">
                <a16:creationId xmlns:a16="http://schemas.microsoft.com/office/drawing/2014/main" id="{C186FC0B-B80F-46AA-40F5-85207E619432}"/>
              </a:ext>
            </a:extLst>
          </p:cNvPr>
          <p:cNvSpPr txBox="1"/>
          <p:nvPr/>
        </p:nvSpPr>
        <p:spPr>
          <a:xfrm>
            <a:off x="3305438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3</a:t>
            </a:r>
          </a:p>
        </p:txBody>
      </p:sp>
      <p:sp>
        <p:nvSpPr>
          <p:cNvPr id="48" name="Caixa de texto 34">
            <a:extLst>
              <a:ext uri="{FF2B5EF4-FFF2-40B4-BE49-F238E27FC236}">
                <a16:creationId xmlns:a16="http://schemas.microsoft.com/office/drawing/2014/main" id="{5B36195B-DC8E-3E64-5BBC-43CFC8AB47FF}"/>
              </a:ext>
            </a:extLst>
          </p:cNvPr>
          <p:cNvSpPr txBox="1"/>
          <p:nvPr/>
        </p:nvSpPr>
        <p:spPr>
          <a:xfrm>
            <a:off x="4561172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4</a:t>
            </a:r>
          </a:p>
        </p:txBody>
      </p:sp>
      <p:sp>
        <p:nvSpPr>
          <p:cNvPr id="49" name="Caixa de texto 34">
            <a:extLst>
              <a:ext uri="{FF2B5EF4-FFF2-40B4-BE49-F238E27FC236}">
                <a16:creationId xmlns:a16="http://schemas.microsoft.com/office/drawing/2014/main" id="{D3155B40-9240-C57F-FB88-EAEB299D41BB}"/>
              </a:ext>
            </a:extLst>
          </p:cNvPr>
          <p:cNvSpPr txBox="1"/>
          <p:nvPr/>
        </p:nvSpPr>
        <p:spPr>
          <a:xfrm>
            <a:off x="5816906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5</a:t>
            </a:r>
          </a:p>
        </p:txBody>
      </p:sp>
      <p:sp>
        <p:nvSpPr>
          <p:cNvPr id="50" name="Caixa de texto 34">
            <a:extLst>
              <a:ext uri="{FF2B5EF4-FFF2-40B4-BE49-F238E27FC236}">
                <a16:creationId xmlns:a16="http://schemas.microsoft.com/office/drawing/2014/main" id="{5B30F1A2-717A-5B72-554F-71286A86AB61}"/>
              </a:ext>
            </a:extLst>
          </p:cNvPr>
          <p:cNvSpPr txBox="1"/>
          <p:nvPr/>
        </p:nvSpPr>
        <p:spPr>
          <a:xfrm>
            <a:off x="7072639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6</a:t>
            </a:r>
          </a:p>
        </p:txBody>
      </p:sp>
      <p:sp>
        <p:nvSpPr>
          <p:cNvPr id="51" name="Caixa de texto 34">
            <a:extLst>
              <a:ext uri="{FF2B5EF4-FFF2-40B4-BE49-F238E27FC236}">
                <a16:creationId xmlns:a16="http://schemas.microsoft.com/office/drawing/2014/main" id="{699780CF-A874-E499-053A-AE5AF0961ED1}"/>
              </a:ext>
            </a:extLst>
          </p:cNvPr>
          <p:cNvSpPr txBox="1"/>
          <p:nvPr/>
        </p:nvSpPr>
        <p:spPr>
          <a:xfrm>
            <a:off x="8328373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7</a:t>
            </a:r>
          </a:p>
        </p:txBody>
      </p:sp>
      <p:sp>
        <p:nvSpPr>
          <p:cNvPr id="52" name="Caixa de texto 34">
            <a:extLst>
              <a:ext uri="{FF2B5EF4-FFF2-40B4-BE49-F238E27FC236}">
                <a16:creationId xmlns:a16="http://schemas.microsoft.com/office/drawing/2014/main" id="{2F4DE817-182A-65E3-F944-9E21B48EDDBC}"/>
              </a:ext>
            </a:extLst>
          </p:cNvPr>
          <p:cNvSpPr txBox="1"/>
          <p:nvPr/>
        </p:nvSpPr>
        <p:spPr>
          <a:xfrm>
            <a:off x="9584107" y="4458315"/>
            <a:ext cx="466740" cy="325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8</a:t>
            </a:r>
          </a:p>
        </p:txBody>
      </p:sp>
      <p:sp>
        <p:nvSpPr>
          <p:cNvPr id="53" name="Caixa de texto 34">
            <a:extLst>
              <a:ext uri="{FF2B5EF4-FFF2-40B4-BE49-F238E27FC236}">
                <a16:creationId xmlns:a16="http://schemas.microsoft.com/office/drawing/2014/main" id="{A50D8323-C2FD-771D-BC20-9AB426F1EC37}"/>
              </a:ext>
            </a:extLst>
          </p:cNvPr>
          <p:cNvSpPr txBox="1"/>
          <p:nvPr/>
        </p:nvSpPr>
        <p:spPr>
          <a:xfrm>
            <a:off x="10839838" y="4437767"/>
            <a:ext cx="466740" cy="345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 sz="2000">
                <a:solidFill>
                  <a:srgbClr val="FFFFFF"/>
                </a:solidFill>
                <a:latin typeface="Gotham Black"/>
                <a:ea typeface="Gotham Black"/>
                <a:cs typeface="Gotham Black"/>
                <a:sym typeface="Gotham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lack"/>
                <a:sym typeface="Gotham Black"/>
              </a:rPr>
              <a:t>9</a:t>
            </a:r>
          </a:p>
        </p:txBody>
      </p:sp>
      <p:sp>
        <p:nvSpPr>
          <p:cNvPr id="54" name="Retângulo 2">
            <a:extLst>
              <a:ext uri="{FF2B5EF4-FFF2-40B4-BE49-F238E27FC236}">
                <a16:creationId xmlns:a16="http://schemas.microsoft.com/office/drawing/2014/main" id="{1765D765-B1F8-C7B0-B1C0-A3B3C5073262}"/>
              </a:ext>
            </a:extLst>
          </p:cNvPr>
          <p:cNvSpPr/>
          <p:nvPr/>
        </p:nvSpPr>
        <p:spPr>
          <a:xfrm>
            <a:off x="6761426" y="2782448"/>
            <a:ext cx="1105200" cy="1484748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58" name="Retângulo 1">
            <a:extLst>
              <a:ext uri="{FF2B5EF4-FFF2-40B4-BE49-F238E27FC236}">
                <a16:creationId xmlns:a16="http://schemas.microsoft.com/office/drawing/2014/main" id="{08EC7BCD-2EB7-39AB-1D2C-EBACE5EFBBBC}"/>
              </a:ext>
            </a:extLst>
          </p:cNvPr>
          <p:cNvSpPr/>
          <p:nvPr/>
        </p:nvSpPr>
        <p:spPr>
          <a:xfrm>
            <a:off x="2978379" y="2782611"/>
            <a:ext cx="1113931" cy="1479733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59" name="Retângulo 1">
            <a:extLst>
              <a:ext uri="{FF2B5EF4-FFF2-40B4-BE49-F238E27FC236}">
                <a16:creationId xmlns:a16="http://schemas.microsoft.com/office/drawing/2014/main" id="{74B47659-0A47-88FB-FF17-987E1B5B1F01}"/>
              </a:ext>
            </a:extLst>
          </p:cNvPr>
          <p:cNvSpPr/>
          <p:nvPr/>
        </p:nvSpPr>
        <p:spPr>
          <a:xfrm>
            <a:off x="1729430" y="2793337"/>
            <a:ext cx="1105200" cy="147240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60" name="Retângulo 1">
            <a:extLst>
              <a:ext uri="{FF2B5EF4-FFF2-40B4-BE49-F238E27FC236}">
                <a16:creationId xmlns:a16="http://schemas.microsoft.com/office/drawing/2014/main" id="{B72D9D11-9429-6D47-8CFF-F0243762DC97}"/>
              </a:ext>
            </a:extLst>
          </p:cNvPr>
          <p:cNvSpPr/>
          <p:nvPr/>
        </p:nvSpPr>
        <p:spPr>
          <a:xfrm>
            <a:off x="472714" y="2782448"/>
            <a:ext cx="1114539" cy="149641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68" name="Retângulo 1">
            <a:extLst>
              <a:ext uri="{FF2B5EF4-FFF2-40B4-BE49-F238E27FC236}">
                <a16:creationId xmlns:a16="http://schemas.microsoft.com/office/drawing/2014/main" id="{2A98445F-639C-7D3C-6A4C-A2B79CFFD7C9}"/>
              </a:ext>
            </a:extLst>
          </p:cNvPr>
          <p:cNvSpPr/>
          <p:nvPr/>
        </p:nvSpPr>
        <p:spPr>
          <a:xfrm>
            <a:off x="8007973" y="2782448"/>
            <a:ext cx="1105200" cy="149641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73" name="Retângulo 72">
            <a:extLst>
              <a:ext uri="{FF2B5EF4-FFF2-40B4-BE49-F238E27FC236}">
                <a16:creationId xmlns:a16="http://schemas.microsoft.com/office/drawing/2014/main" id="{21F7F7F4-5223-CE78-ACFC-C3EE57910ABA}"/>
              </a:ext>
            </a:extLst>
          </p:cNvPr>
          <p:cNvSpPr/>
          <p:nvPr/>
        </p:nvSpPr>
        <p:spPr>
          <a:xfrm>
            <a:off x="10526782" y="2782448"/>
            <a:ext cx="1101600" cy="1479897"/>
          </a:xfrm>
          <a:prstGeom prst="rect">
            <a:avLst/>
          </a:prstGeom>
          <a:solidFill>
            <a:srgbClr val="6CA896">
              <a:alpha val="6980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A16DDB5B-2A5D-F883-F624-C75839909054}"/>
              </a:ext>
            </a:extLst>
          </p:cNvPr>
          <p:cNvSpPr/>
          <p:nvPr/>
        </p:nvSpPr>
        <p:spPr>
          <a:xfrm>
            <a:off x="9267834" y="2774272"/>
            <a:ext cx="1105200" cy="1496410"/>
          </a:xfrm>
          <a:prstGeom prst="rect">
            <a:avLst/>
          </a:prstGeom>
          <a:solidFill>
            <a:srgbClr val="6CA896">
              <a:alpha val="71894"/>
            </a:srgb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C5E0B4"/>
                </a:solidFill>
                <a:latin typeface="Segoe UI"/>
                <a:ea typeface="Segoe UI"/>
                <a:cs typeface="Segoe UI"/>
                <a:sym typeface="Segoe UI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C5E0B4"/>
              </a:solidFill>
              <a:effectLst/>
              <a:uLnTx/>
              <a:uFillTx/>
              <a:latin typeface="Segoe UI"/>
              <a:cs typeface="Segoe UI"/>
              <a:sym typeface="Segoe UI"/>
            </a:endParaRPr>
          </a:p>
        </p:txBody>
      </p:sp>
      <p:pic>
        <p:nvPicPr>
          <p:cNvPr id="115" name="Picture 2" descr="Fórum SBTVD | T.V 2.5 English">
            <a:extLst>
              <a:ext uri="{FF2B5EF4-FFF2-40B4-BE49-F238E27FC236}">
                <a16:creationId xmlns:a16="http://schemas.microsoft.com/office/drawing/2014/main" id="{1B9EB9F5-C310-3264-4011-04623EBC3A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9717" y="217076"/>
            <a:ext cx="1352088" cy="44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4B1B107C-81DD-633B-CE50-E92D15454261}"/>
              </a:ext>
            </a:extLst>
          </p:cNvPr>
          <p:cNvSpPr txBox="1"/>
          <p:nvPr/>
        </p:nvSpPr>
        <p:spPr>
          <a:xfrm>
            <a:off x="2572696" y="3242189"/>
            <a:ext cx="78920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b="1" dirty="0">
                <a:solidFill>
                  <a:srgbClr val="004042"/>
                </a:solidFill>
                <a:latin typeface="Globotipo Corporativa" panose="020B0503020202020204" pitchFamily="34" charset="0"/>
                <a:cs typeface="Segoe UI" panose="020B0502040204020203" pitchFamily="34" charset="0"/>
              </a:rPr>
              <a:t>A SER PADRONIZADO PELA ABNT EM 2025</a:t>
            </a:r>
          </a:p>
        </p:txBody>
      </p:sp>
    </p:spTree>
    <p:extLst>
      <p:ext uri="{BB962C8B-B14F-4D97-AF65-F5344CB8AC3E}">
        <p14:creationId xmlns:p14="http://schemas.microsoft.com/office/powerpoint/2010/main" val="176932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4" grpId="0" animBg="1"/>
      <p:bldP spid="58" grpId="0" animBg="1"/>
      <p:bldP spid="59" grpId="0" animBg="1"/>
      <p:bldP spid="60" grpId="0" animBg="1"/>
      <p:bldP spid="68" grpId="0" animBg="1"/>
      <p:bldP spid="73" grpId="0" animBg="1"/>
      <p:bldP spid="2" grpId="0" animBg="1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AD67C3-3DA7-8B55-5076-3A7DDCA73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D2FD6B85-6FC8-C925-14D6-DF5ABB35EAC1}"/>
              </a:ext>
            </a:extLst>
          </p:cNvPr>
          <p:cNvSpPr/>
          <p:nvPr/>
        </p:nvSpPr>
        <p:spPr>
          <a:xfrm rot="2700000">
            <a:off x="6542739" y="-3312908"/>
            <a:ext cx="4680000" cy="4680000"/>
          </a:xfrm>
          <a:prstGeom prst="ellipse">
            <a:avLst/>
          </a:prstGeom>
          <a:noFill/>
          <a:ln w="50800" cap="flat" cmpd="sng" algn="ctr">
            <a:solidFill>
              <a:srgbClr val="00404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34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pt-BR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Corporativa"/>
              <a:ea typeface="+mn-ea"/>
              <a:cs typeface="+mn-cs"/>
              <a:sym typeface="Arial"/>
            </a:endParaRPr>
          </a:p>
        </p:txBody>
      </p:sp>
      <p:sp>
        <p:nvSpPr>
          <p:cNvPr id="74" name="Google Shape;164;p25">
            <a:extLst>
              <a:ext uri="{FF2B5EF4-FFF2-40B4-BE49-F238E27FC236}">
                <a16:creationId xmlns:a16="http://schemas.microsoft.com/office/drawing/2014/main" id="{8FA77471-34F8-D61C-3C30-F6621AD96E53}"/>
              </a:ext>
            </a:extLst>
          </p:cNvPr>
          <p:cNvSpPr txBox="1"/>
          <p:nvPr/>
        </p:nvSpPr>
        <p:spPr>
          <a:xfrm>
            <a:off x="1897625" y="2956835"/>
            <a:ext cx="10294375" cy="2132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3487" tIns="31727" rIns="63487" bIns="31727" anchor="t" anchorCtr="0">
            <a:spAutoFit/>
          </a:bodyPr>
          <a:lstStyle/>
          <a:p>
            <a:pPr marL="0" marR="0" lvl="0" indent="0" algn="l" defTabSz="914341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pt-BR" sz="9600" b="1" kern="0" dirty="0">
                <a:solidFill>
                  <a:srgbClr val="004042"/>
                </a:solidFill>
                <a:latin typeface="Globotipo Corporativa" panose="020B0503020202020204" pitchFamily="34" charset="0"/>
                <a:ea typeface="Montserrat"/>
                <a:cs typeface="Montserrat"/>
                <a:sym typeface="Montserrat"/>
              </a:rPr>
              <a:t>Experiência</a:t>
            </a:r>
          </a:p>
          <a:p>
            <a:pPr marL="0" marR="0" lvl="0" indent="0" algn="l" defTabSz="914341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pt-BR" sz="9600" b="1" kern="0" dirty="0">
                <a:solidFill>
                  <a:srgbClr val="004042"/>
                </a:solidFill>
                <a:latin typeface="Globotipo Corporativa" panose="020B0503020202020204" pitchFamily="34" charset="0"/>
                <a:ea typeface="Montserrat"/>
                <a:cs typeface="Montserrat"/>
                <a:sym typeface="Montserrat"/>
              </a:rPr>
              <a:t>d</a:t>
            </a:r>
            <a:r>
              <a:rPr kumimoji="0" lang="pt-BR" sz="9600" b="1" i="0" u="none" strike="noStrike" kern="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ea typeface="Montserrat"/>
                <a:cs typeface="Montserrat"/>
                <a:sym typeface="Montserrat"/>
              </a:rPr>
              <a:t>a TV3.0</a:t>
            </a:r>
            <a:endParaRPr kumimoji="0" sz="9600" b="1" i="0" u="none" strike="noStrike" kern="0" cap="none" spc="0" normalizeH="0" baseline="0" noProof="0" dirty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3" name="Picture 2" descr="Fórum SBTVD | T.V 2.5 English">
            <a:extLst>
              <a:ext uri="{FF2B5EF4-FFF2-40B4-BE49-F238E27FC236}">
                <a16:creationId xmlns:a16="http://schemas.microsoft.com/office/drawing/2014/main" id="{25E670C3-7B5D-FB7E-2BAE-68E0AAF23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66" y="393354"/>
            <a:ext cx="1852537" cy="606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194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716EA5B7-A2D7-2822-93D9-F66ADEBFEC99}"/>
              </a:ext>
            </a:extLst>
          </p:cNvPr>
          <p:cNvSpPr/>
          <p:nvPr/>
        </p:nvSpPr>
        <p:spPr>
          <a:xfrm>
            <a:off x="0" y="-10655"/>
            <a:ext cx="12192001" cy="6868653"/>
          </a:xfrm>
          <a:prstGeom prst="rect">
            <a:avLst/>
          </a:prstGeom>
          <a:solidFill>
            <a:srgbClr val="00404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Picture 22" descr="Televisão com antena - ícones de tecnologia grátis">
            <a:extLst>
              <a:ext uri="{FF2B5EF4-FFF2-40B4-BE49-F238E27FC236}">
                <a16:creationId xmlns:a16="http://schemas.microsoft.com/office/drawing/2014/main" id="{E0499310-2B90-87B2-5EDB-608DEFA46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51"/>
          <a:stretch/>
        </p:blipFill>
        <p:spPr bwMode="auto">
          <a:xfrm>
            <a:off x="3657961" y="3961300"/>
            <a:ext cx="629297" cy="492012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rma Livre: Forma 1">
            <a:extLst>
              <a:ext uri="{FF2B5EF4-FFF2-40B4-BE49-F238E27FC236}">
                <a16:creationId xmlns:a16="http://schemas.microsoft.com/office/drawing/2014/main" id="{1F5953D5-3AC1-4F34-A524-8674621151B1}"/>
              </a:ext>
            </a:extLst>
          </p:cNvPr>
          <p:cNvSpPr/>
          <p:nvPr/>
        </p:nvSpPr>
        <p:spPr>
          <a:xfrm>
            <a:off x="1743917" y="3353472"/>
            <a:ext cx="1674968" cy="2905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9" y="20785"/>
                </a:moveTo>
                <a:lnTo>
                  <a:pt x="1628" y="20801"/>
                </a:lnTo>
                <a:lnTo>
                  <a:pt x="1629" y="20801"/>
                </a:lnTo>
                <a:close/>
                <a:moveTo>
                  <a:pt x="19956" y="20752"/>
                </a:moveTo>
                <a:lnTo>
                  <a:pt x="19956" y="20752"/>
                </a:lnTo>
                <a:cubicBezTo>
                  <a:pt x="19957" y="20763"/>
                  <a:pt x="19957" y="20773"/>
                  <a:pt x="19958" y="20783"/>
                </a:cubicBezTo>
                <a:lnTo>
                  <a:pt x="19958" y="20803"/>
                </a:lnTo>
                <a:lnTo>
                  <a:pt x="19959" y="20803"/>
                </a:lnTo>
                <a:cubicBezTo>
                  <a:pt x="19958" y="20796"/>
                  <a:pt x="19958" y="20790"/>
                  <a:pt x="19958" y="20783"/>
                </a:cubicBezTo>
                <a:lnTo>
                  <a:pt x="19958" y="20776"/>
                </a:lnTo>
                <a:cubicBezTo>
                  <a:pt x="19957" y="20768"/>
                  <a:pt x="19957" y="20760"/>
                  <a:pt x="19956" y="20752"/>
                </a:cubicBezTo>
                <a:close/>
                <a:moveTo>
                  <a:pt x="1632" y="20679"/>
                </a:moveTo>
                <a:cubicBezTo>
                  <a:pt x="1632" y="20685"/>
                  <a:pt x="1631" y="20691"/>
                  <a:pt x="1631" y="20697"/>
                </a:cubicBezTo>
                <a:lnTo>
                  <a:pt x="1632" y="20697"/>
                </a:lnTo>
                <a:close/>
                <a:moveTo>
                  <a:pt x="19968" y="20643"/>
                </a:moveTo>
                <a:lnTo>
                  <a:pt x="19968" y="20643"/>
                </a:lnTo>
                <a:lnTo>
                  <a:pt x="19970" y="20677"/>
                </a:lnTo>
                <a:lnTo>
                  <a:pt x="19970" y="20701"/>
                </a:lnTo>
                <a:lnTo>
                  <a:pt x="19971" y="20700"/>
                </a:lnTo>
                <a:lnTo>
                  <a:pt x="19970" y="20677"/>
                </a:lnTo>
                <a:lnTo>
                  <a:pt x="19970" y="20671"/>
                </a:lnTo>
                <a:cubicBezTo>
                  <a:pt x="19969" y="20661"/>
                  <a:pt x="19969" y="20652"/>
                  <a:pt x="19968" y="20643"/>
                </a:cubicBezTo>
                <a:close/>
                <a:moveTo>
                  <a:pt x="1672" y="20582"/>
                </a:moveTo>
                <a:cubicBezTo>
                  <a:pt x="1671" y="20587"/>
                  <a:pt x="1671" y="20592"/>
                  <a:pt x="1671" y="20597"/>
                </a:cubicBezTo>
                <a:lnTo>
                  <a:pt x="1672" y="20597"/>
                </a:lnTo>
                <a:close/>
                <a:moveTo>
                  <a:pt x="21396" y="18996"/>
                </a:moveTo>
                <a:cubicBezTo>
                  <a:pt x="21396" y="18997"/>
                  <a:pt x="21396" y="18998"/>
                  <a:pt x="21396" y="18999"/>
                </a:cubicBezTo>
                <a:lnTo>
                  <a:pt x="21415" y="18999"/>
                </a:lnTo>
                <a:close/>
                <a:moveTo>
                  <a:pt x="223" y="18991"/>
                </a:moveTo>
                <a:lnTo>
                  <a:pt x="213" y="18992"/>
                </a:lnTo>
                <a:lnTo>
                  <a:pt x="223" y="18992"/>
                </a:lnTo>
                <a:cubicBezTo>
                  <a:pt x="223" y="18992"/>
                  <a:pt x="223" y="18991"/>
                  <a:pt x="223" y="18991"/>
                </a:cubicBezTo>
                <a:close/>
                <a:moveTo>
                  <a:pt x="1664" y="1005"/>
                </a:moveTo>
                <a:lnTo>
                  <a:pt x="1663" y="1006"/>
                </a:lnTo>
                <a:lnTo>
                  <a:pt x="1664" y="1028"/>
                </a:lnTo>
                <a:close/>
                <a:moveTo>
                  <a:pt x="1625" y="906"/>
                </a:moveTo>
                <a:lnTo>
                  <a:pt x="1623" y="907"/>
                </a:lnTo>
                <a:lnTo>
                  <a:pt x="1625" y="931"/>
                </a:lnTo>
                <a:close/>
                <a:moveTo>
                  <a:pt x="1621" y="802"/>
                </a:moveTo>
                <a:lnTo>
                  <a:pt x="1619" y="802"/>
                </a:lnTo>
                <a:cubicBezTo>
                  <a:pt x="1620" y="810"/>
                  <a:pt x="1620" y="818"/>
                  <a:pt x="1621" y="825"/>
                </a:cubicBezTo>
                <a:close/>
                <a:moveTo>
                  <a:pt x="10811" y="0"/>
                </a:moveTo>
                <a:cubicBezTo>
                  <a:pt x="13884" y="0"/>
                  <a:pt x="17073" y="128"/>
                  <a:pt x="20015" y="643"/>
                </a:cubicBezTo>
                <a:cubicBezTo>
                  <a:pt x="20881" y="757"/>
                  <a:pt x="21362" y="1152"/>
                  <a:pt x="21465" y="2597"/>
                </a:cubicBezTo>
                <a:cubicBezTo>
                  <a:pt x="21600" y="5299"/>
                  <a:pt x="21600" y="8040"/>
                  <a:pt x="21600" y="10779"/>
                </a:cubicBezTo>
                <a:cubicBezTo>
                  <a:pt x="21600" y="13560"/>
                  <a:pt x="21600" y="16303"/>
                  <a:pt x="21465" y="19003"/>
                </a:cubicBezTo>
                <a:cubicBezTo>
                  <a:pt x="21362" y="20448"/>
                  <a:pt x="20881" y="20843"/>
                  <a:pt x="20015" y="20957"/>
                </a:cubicBezTo>
                <a:cubicBezTo>
                  <a:pt x="20015" y="20932"/>
                  <a:pt x="20014" y="20907"/>
                  <a:pt x="20013" y="20883"/>
                </a:cubicBezTo>
                <a:lnTo>
                  <a:pt x="20013" y="20876"/>
                </a:lnTo>
                <a:cubicBezTo>
                  <a:pt x="20013" y="20866"/>
                  <a:pt x="20012" y="20857"/>
                  <a:pt x="20011" y="20847"/>
                </a:cubicBezTo>
                <a:lnTo>
                  <a:pt x="20011" y="20847"/>
                </a:lnTo>
                <a:cubicBezTo>
                  <a:pt x="20012" y="20859"/>
                  <a:pt x="20013" y="20871"/>
                  <a:pt x="20013" y="20883"/>
                </a:cubicBezTo>
                <a:lnTo>
                  <a:pt x="20013" y="20957"/>
                </a:lnTo>
                <a:cubicBezTo>
                  <a:pt x="17070" y="21477"/>
                  <a:pt x="13885" y="21600"/>
                  <a:pt x="10809" y="21600"/>
                </a:cubicBezTo>
                <a:cubicBezTo>
                  <a:pt x="7733" y="21600"/>
                  <a:pt x="4554" y="21486"/>
                  <a:pt x="1583" y="20966"/>
                </a:cubicBezTo>
                <a:cubicBezTo>
                  <a:pt x="1583" y="20965"/>
                  <a:pt x="1583" y="20965"/>
                  <a:pt x="1583" y="20965"/>
                </a:cubicBezTo>
                <a:lnTo>
                  <a:pt x="1589" y="20966"/>
                </a:lnTo>
                <a:lnTo>
                  <a:pt x="1589" y="20884"/>
                </a:lnTo>
                <a:lnTo>
                  <a:pt x="1583" y="20965"/>
                </a:lnTo>
                <a:lnTo>
                  <a:pt x="1291" y="20908"/>
                </a:lnTo>
                <a:cubicBezTo>
                  <a:pt x="635" y="20735"/>
                  <a:pt x="257" y="20276"/>
                  <a:pt x="169" y="19011"/>
                </a:cubicBezTo>
                <a:cubicBezTo>
                  <a:pt x="0" y="16307"/>
                  <a:pt x="0" y="13564"/>
                  <a:pt x="0" y="10783"/>
                </a:cubicBezTo>
                <a:cubicBezTo>
                  <a:pt x="0" y="8043"/>
                  <a:pt x="0" y="5300"/>
                  <a:pt x="162" y="2599"/>
                </a:cubicBezTo>
                <a:cubicBezTo>
                  <a:pt x="251" y="1335"/>
                  <a:pt x="630" y="875"/>
                  <a:pt x="1284" y="703"/>
                </a:cubicBezTo>
                <a:lnTo>
                  <a:pt x="1576" y="646"/>
                </a:lnTo>
                <a:lnTo>
                  <a:pt x="1581" y="726"/>
                </a:lnTo>
                <a:lnTo>
                  <a:pt x="1581" y="645"/>
                </a:lnTo>
                <a:lnTo>
                  <a:pt x="1576" y="646"/>
                </a:lnTo>
                <a:lnTo>
                  <a:pt x="1576" y="645"/>
                </a:lnTo>
                <a:cubicBezTo>
                  <a:pt x="4554" y="128"/>
                  <a:pt x="7738" y="0"/>
                  <a:pt x="10811" y="0"/>
                </a:cubicBezTo>
                <a:close/>
              </a:path>
            </a:pathLst>
          </a:custGeom>
          <a:solidFill>
            <a:schemeClr val="bg1">
              <a:alpha val="32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317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lobotipo Rounded Light" panose="00000400000000000000" pitchFamily="2" charset="0"/>
              <a:cs typeface="Gotham Bold"/>
            </a:endParaRPr>
          </a:p>
        </p:txBody>
      </p:sp>
      <p:pic>
        <p:nvPicPr>
          <p:cNvPr id="7" name="Picture 6" descr="Casa branca - ícones de interface grátis">
            <a:extLst>
              <a:ext uri="{FF2B5EF4-FFF2-40B4-BE49-F238E27FC236}">
                <a16:creationId xmlns:a16="http://schemas.microsoft.com/office/drawing/2014/main" id="{A6FDED94-3744-DD85-1190-9415795EE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633" y="2966414"/>
            <a:ext cx="1484205" cy="1610592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Hotspot, wifi, wireless icon - Download on Iconfinder">
            <a:extLst>
              <a:ext uri="{FF2B5EF4-FFF2-40B4-BE49-F238E27FC236}">
                <a16:creationId xmlns:a16="http://schemas.microsoft.com/office/drawing/2014/main" id="{D2027090-44A3-4A22-F2C8-6136CCA79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886074">
            <a:off x="3827421" y="4002035"/>
            <a:ext cx="272196" cy="250836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Aerial Antenna Icons - Free SVG &amp; PNG Aerial Antenna Images - Noun Project">
            <a:extLst>
              <a:ext uri="{FF2B5EF4-FFF2-40B4-BE49-F238E27FC236}">
                <a16:creationId xmlns:a16="http://schemas.microsoft.com/office/drawing/2014/main" id="{0233EB3C-0F91-DD26-12FF-96D26EF35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420" y="3082557"/>
            <a:ext cx="571108" cy="619741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B099E52E-BD18-377D-EFB1-52C21F83AD06}"/>
              </a:ext>
            </a:extLst>
          </p:cNvPr>
          <p:cNvSpPr txBox="1"/>
          <p:nvPr/>
        </p:nvSpPr>
        <p:spPr>
          <a:xfrm>
            <a:off x="893439" y="4723454"/>
            <a:ext cx="440038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POUCA INTEGRAÇÃO ENTRE AMBIENTES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Texto Light" panose="00000400000000000000" pitchFamily="50" charset="0"/>
              <a:cs typeface="Gotham Bold"/>
              <a:sym typeface="Helvetica Neue"/>
            </a:endParaRPr>
          </a:p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ANTENA EXTERNA</a:t>
            </a:r>
          </a:p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EXPERIÊNCIAS SEPARADAS  |  BROADCAST // BROADBAND</a:t>
            </a:r>
          </a:p>
        </p:txBody>
      </p:sp>
      <p:sp>
        <p:nvSpPr>
          <p:cNvPr id="11" name="Graphic 26">
            <a:extLst>
              <a:ext uri="{FF2B5EF4-FFF2-40B4-BE49-F238E27FC236}">
                <a16:creationId xmlns:a16="http://schemas.microsoft.com/office/drawing/2014/main" id="{A14C043F-2CE3-B2C7-13FF-2AE655FC151B}"/>
              </a:ext>
            </a:extLst>
          </p:cNvPr>
          <p:cNvSpPr/>
          <p:nvPr/>
        </p:nvSpPr>
        <p:spPr>
          <a:xfrm>
            <a:off x="438256" y="2655811"/>
            <a:ext cx="5310753" cy="3049297"/>
          </a:xfrm>
          <a:custGeom>
            <a:avLst/>
            <a:gdLst>
              <a:gd name="connsiteX0" fmla="*/ 3604531 w 3632104"/>
              <a:gd name="connsiteY0" fmla="*/ 249426 h 2261454"/>
              <a:gd name="connsiteX1" fmla="*/ 3392018 w 3632104"/>
              <a:gd name="connsiteY1" fmla="*/ 69148 h 2261454"/>
              <a:gd name="connsiteX2" fmla="*/ 1813723 w 3632104"/>
              <a:gd name="connsiteY2" fmla="*/ 0 h 2261454"/>
              <a:gd name="connsiteX3" fmla="*/ 240467 w 3632104"/>
              <a:gd name="connsiteY3" fmla="*/ 69148 h 2261454"/>
              <a:gd name="connsiteX4" fmla="*/ 240087 w 3632104"/>
              <a:gd name="connsiteY4" fmla="*/ 69148 h 2261454"/>
              <a:gd name="connsiteX5" fmla="*/ 23010 w 3632104"/>
              <a:gd name="connsiteY5" fmla="*/ 249141 h 2261454"/>
              <a:gd name="connsiteX6" fmla="*/ 0 w 3632104"/>
              <a:gd name="connsiteY6" fmla="*/ 1133055 h 2261454"/>
              <a:gd name="connsiteX7" fmla="*/ 23010 w 3632104"/>
              <a:gd name="connsiteY7" fmla="*/ 2012314 h 2261454"/>
              <a:gd name="connsiteX8" fmla="*/ 240087 w 3632104"/>
              <a:gd name="connsiteY8" fmla="*/ 2192307 h 2261454"/>
              <a:gd name="connsiteX9" fmla="*/ 1813818 w 3632104"/>
              <a:gd name="connsiteY9" fmla="*/ 2261455 h 2261454"/>
              <a:gd name="connsiteX10" fmla="*/ 3391733 w 3632104"/>
              <a:gd name="connsiteY10" fmla="*/ 2192402 h 2261454"/>
              <a:gd name="connsiteX11" fmla="*/ 3604531 w 3632104"/>
              <a:gd name="connsiteY11" fmla="*/ 2012124 h 2261454"/>
              <a:gd name="connsiteX12" fmla="*/ 3632105 w 3632104"/>
              <a:gd name="connsiteY12" fmla="*/ 1133055 h 2261454"/>
              <a:gd name="connsiteX13" fmla="*/ 3604531 w 3632104"/>
              <a:gd name="connsiteY13" fmla="*/ 249331 h 226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32104" h="2261454">
                <a:moveTo>
                  <a:pt x="3604531" y="249426"/>
                </a:moveTo>
                <a:cubicBezTo>
                  <a:pt x="3587701" y="111130"/>
                  <a:pt x="3525326" y="82065"/>
                  <a:pt x="3392018" y="69148"/>
                </a:cubicBezTo>
                <a:cubicBezTo>
                  <a:pt x="2959007" y="21941"/>
                  <a:pt x="2457535" y="0"/>
                  <a:pt x="1813723" y="0"/>
                </a:cubicBezTo>
                <a:cubicBezTo>
                  <a:pt x="1169911" y="0"/>
                  <a:pt x="669200" y="21941"/>
                  <a:pt x="240467" y="69148"/>
                </a:cubicBezTo>
                <a:lnTo>
                  <a:pt x="240087" y="69148"/>
                </a:lnTo>
                <a:cubicBezTo>
                  <a:pt x="71313" y="84915"/>
                  <a:pt x="36607" y="137441"/>
                  <a:pt x="23010" y="249141"/>
                </a:cubicBezTo>
                <a:cubicBezTo>
                  <a:pt x="0" y="538840"/>
                  <a:pt x="0" y="827494"/>
                  <a:pt x="0" y="1133055"/>
                </a:cubicBezTo>
                <a:cubicBezTo>
                  <a:pt x="0" y="1422943"/>
                  <a:pt x="0" y="1722615"/>
                  <a:pt x="23010" y="2012314"/>
                </a:cubicBezTo>
                <a:cubicBezTo>
                  <a:pt x="39935" y="2150515"/>
                  <a:pt x="103736" y="2179579"/>
                  <a:pt x="240087" y="2192307"/>
                </a:cubicBezTo>
                <a:cubicBezTo>
                  <a:pt x="669200" y="2239514"/>
                  <a:pt x="1169055" y="2261455"/>
                  <a:pt x="1813818" y="2261455"/>
                </a:cubicBezTo>
                <a:cubicBezTo>
                  <a:pt x="2458581" y="2261455"/>
                  <a:pt x="2959102" y="2239514"/>
                  <a:pt x="3391733" y="2192402"/>
                </a:cubicBezTo>
                <a:cubicBezTo>
                  <a:pt x="3525326" y="2179485"/>
                  <a:pt x="3587701" y="2150420"/>
                  <a:pt x="3604531" y="2012124"/>
                </a:cubicBezTo>
                <a:cubicBezTo>
                  <a:pt x="3632105" y="1722520"/>
                  <a:pt x="3632105" y="1422848"/>
                  <a:pt x="3632105" y="1133055"/>
                </a:cubicBezTo>
                <a:cubicBezTo>
                  <a:pt x="3632105" y="827494"/>
                  <a:pt x="3632105" y="538935"/>
                  <a:pt x="3604531" y="249331"/>
                </a:cubicBezTo>
                <a:close/>
              </a:path>
            </a:pathLst>
          </a:custGeom>
          <a:noFill/>
          <a:ln w="4127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lobotipo Rounded"/>
              <a:ea typeface="+mn-ea"/>
              <a:cs typeface="Gotham Bold"/>
            </a:endParaRPr>
          </a:p>
        </p:txBody>
      </p:sp>
      <p:sp>
        <p:nvSpPr>
          <p:cNvPr id="12" name="Oval 75">
            <a:extLst>
              <a:ext uri="{FF2B5EF4-FFF2-40B4-BE49-F238E27FC236}">
                <a16:creationId xmlns:a16="http://schemas.microsoft.com/office/drawing/2014/main" id="{43761CE8-245B-E65D-A64E-B3339F955507}"/>
              </a:ext>
            </a:extLst>
          </p:cNvPr>
          <p:cNvSpPr/>
          <p:nvPr/>
        </p:nvSpPr>
        <p:spPr>
          <a:xfrm rot="16790902">
            <a:off x="16385" y="2341101"/>
            <a:ext cx="1084349" cy="1078636"/>
          </a:xfrm>
          <a:prstGeom prst="ellipse">
            <a:avLst/>
          </a:prstGeom>
          <a:solidFill>
            <a:srgbClr val="6CA89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31746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Bold"/>
              <a:cs typeface="Gotham Bold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90A6C56E-1121-7A35-0D16-2070142D8760}"/>
              </a:ext>
            </a:extLst>
          </p:cNvPr>
          <p:cNvSpPr txBox="1"/>
          <p:nvPr/>
        </p:nvSpPr>
        <p:spPr>
          <a:xfrm>
            <a:off x="-17386" y="2637687"/>
            <a:ext cx="11637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MODELO 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ATUAL</a:t>
            </a:r>
          </a:p>
        </p:txBody>
      </p:sp>
      <p:pic>
        <p:nvPicPr>
          <p:cNvPr id="14" name="Gráfico 13" descr="Torre de Celular com preenchimento sólido">
            <a:extLst>
              <a:ext uri="{FF2B5EF4-FFF2-40B4-BE49-F238E27FC236}">
                <a16:creationId xmlns:a16="http://schemas.microsoft.com/office/drawing/2014/main" id="{9C99BDD9-D98F-C685-9CA3-7A12025617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9728" y="3047042"/>
            <a:ext cx="629327" cy="682917"/>
          </a:xfrm>
          <a:prstGeom prst="rect">
            <a:avLst/>
          </a:prstGeom>
        </p:spPr>
      </p:pic>
      <p:pic>
        <p:nvPicPr>
          <p:cNvPr id="15" name="Picture 24" descr="Símbolo da internet - ícones de mapas e bandeiras grátis">
            <a:extLst>
              <a:ext uri="{FF2B5EF4-FFF2-40B4-BE49-F238E27FC236}">
                <a16:creationId xmlns:a16="http://schemas.microsoft.com/office/drawing/2014/main" id="{EC112A80-5701-9DE9-6BE5-ED38F3CC2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24" y="3913054"/>
            <a:ext cx="465851" cy="505520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orma Livre: Forma 1">
            <a:extLst>
              <a:ext uri="{FF2B5EF4-FFF2-40B4-BE49-F238E27FC236}">
                <a16:creationId xmlns:a16="http://schemas.microsoft.com/office/drawing/2014/main" id="{5A2C1683-0954-53E5-7E08-A010E2C44C85}"/>
              </a:ext>
            </a:extLst>
          </p:cNvPr>
          <p:cNvSpPr/>
          <p:nvPr/>
        </p:nvSpPr>
        <p:spPr>
          <a:xfrm>
            <a:off x="1800619" y="4005677"/>
            <a:ext cx="1674968" cy="2905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9" y="20785"/>
                </a:moveTo>
                <a:lnTo>
                  <a:pt x="1628" y="20801"/>
                </a:lnTo>
                <a:lnTo>
                  <a:pt x="1629" y="20801"/>
                </a:lnTo>
                <a:close/>
                <a:moveTo>
                  <a:pt x="19956" y="20752"/>
                </a:moveTo>
                <a:lnTo>
                  <a:pt x="19956" y="20752"/>
                </a:lnTo>
                <a:cubicBezTo>
                  <a:pt x="19957" y="20763"/>
                  <a:pt x="19957" y="20773"/>
                  <a:pt x="19958" y="20783"/>
                </a:cubicBezTo>
                <a:lnTo>
                  <a:pt x="19958" y="20803"/>
                </a:lnTo>
                <a:lnTo>
                  <a:pt x="19959" y="20803"/>
                </a:lnTo>
                <a:cubicBezTo>
                  <a:pt x="19958" y="20796"/>
                  <a:pt x="19958" y="20790"/>
                  <a:pt x="19958" y="20783"/>
                </a:cubicBezTo>
                <a:lnTo>
                  <a:pt x="19958" y="20776"/>
                </a:lnTo>
                <a:cubicBezTo>
                  <a:pt x="19957" y="20768"/>
                  <a:pt x="19957" y="20760"/>
                  <a:pt x="19956" y="20752"/>
                </a:cubicBezTo>
                <a:close/>
                <a:moveTo>
                  <a:pt x="1632" y="20679"/>
                </a:moveTo>
                <a:cubicBezTo>
                  <a:pt x="1632" y="20685"/>
                  <a:pt x="1631" y="20691"/>
                  <a:pt x="1631" y="20697"/>
                </a:cubicBezTo>
                <a:lnTo>
                  <a:pt x="1632" y="20697"/>
                </a:lnTo>
                <a:close/>
                <a:moveTo>
                  <a:pt x="19968" y="20643"/>
                </a:moveTo>
                <a:lnTo>
                  <a:pt x="19968" y="20643"/>
                </a:lnTo>
                <a:lnTo>
                  <a:pt x="19970" y="20677"/>
                </a:lnTo>
                <a:lnTo>
                  <a:pt x="19970" y="20701"/>
                </a:lnTo>
                <a:lnTo>
                  <a:pt x="19971" y="20700"/>
                </a:lnTo>
                <a:lnTo>
                  <a:pt x="19970" y="20677"/>
                </a:lnTo>
                <a:lnTo>
                  <a:pt x="19970" y="20671"/>
                </a:lnTo>
                <a:cubicBezTo>
                  <a:pt x="19969" y="20661"/>
                  <a:pt x="19969" y="20652"/>
                  <a:pt x="19968" y="20643"/>
                </a:cubicBezTo>
                <a:close/>
                <a:moveTo>
                  <a:pt x="1672" y="20582"/>
                </a:moveTo>
                <a:cubicBezTo>
                  <a:pt x="1671" y="20587"/>
                  <a:pt x="1671" y="20592"/>
                  <a:pt x="1671" y="20597"/>
                </a:cubicBezTo>
                <a:lnTo>
                  <a:pt x="1672" y="20597"/>
                </a:lnTo>
                <a:close/>
                <a:moveTo>
                  <a:pt x="21396" y="18996"/>
                </a:moveTo>
                <a:cubicBezTo>
                  <a:pt x="21396" y="18997"/>
                  <a:pt x="21396" y="18998"/>
                  <a:pt x="21396" y="18999"/>
                </a:cubicBezTo>
                <a:lnTo>
                  <a:pt x="21415" y="18999"/>
                </a:lnTo>
                <a:close/>
                <a:moveTo>
                  <a:pt x="223" y="18991"/>
                </a:moveTo>
                <a:lnTo>
                  <a:pt x="213" y="18992"/>
                </a:lnTo>
                <a:lnTo>
                  <a:pt x="223" y="18992"/>
                </a:lnTo>
                <a:cubicBezTo>
                  <a:pt x="223" y="18992"/>
                  <a:pt x="223" y="18991"/>
                  <a:pt x="223" y="18991"/>
                </a:cubicBezTo>
                <a:close/>
                <a:moveTo>
                  <a:pt x="1664" y="1005"/>
                </a:moveTo>
                <a:lnTo>
                  <a:pt x="1663" y="1006"/>
                </a:lnTo>
                <a:lnTo>
                  <a:pt x="1664" y="1028"/>
                </a:lnTo>
                <a:close/>
                <a:moveTo>
                  <a:pt x="1625" y="906"/>
                </a:moveTo>
                <a:lnTo>
                  <a:pt x="1623" y="907"/>
                </a:lnTo>
                <a:lnTo>
                  <a:pt x="1625" y="931"/>
                </a:lnTo>
                <a:close/>
                <a:moveTo>
                  <a:pt x="1621" y="802"/>
                </a:moveTo>
                <a:lnTo>
                  <a:pt x="1619" y="802"/>
                </a:lnTo>
                <a:cubicBezTo>
                  <a:pt x="1620" y="810"/>
                  <a:pt x="1620" y="818"/>
                  <a:pt x="1621" y="825"/>
                </a:cubicBezTo>
                <a:close/>
                <a:moveTo>
                  <a:pt x="10811" y="0"/>
                </a:moveTo>
                <a:cubicBezTo>
                  <a:pt x="13884" y="0"/>
                  <a:pt x="17073" y="128"/>
                  <a:pt x="20015" y="643"/>
                </a:cubicBezTo>
                <a:cubicBezTo>
                  <a:pt x="20881" y="757"/>
                  <a:pt x="21362" y="1152"/>
                  <a:pt x="21465" y="2597"/>
                </a:cubicBezTo>
                <a:cubicBezTo>
                  <a:pt x="21600" y="5299"/>
                  <a:pt x="21600" y="8040"/>
                  <a:pt x="21600" y="10779"/>
                </a:cubicBezTo>
                <a:cubicBezTo>
                  <a:pt x="21600" y="13560"/>
                  <a:pt x="21600" y="16303"/>
                  <a:pt x="21465" y="19003"/>
                </a:cubicBezTo>
                <a:cubicBezTo>
                  <a:pt x="21362" y="20448"/>
                  <a:pt x="20881" y="20843"/>
                  <a:pt x="20015" y="20957"/>
                </a:cubicBezTo>
                <a:cubicBezTo>
                  <a:pt x="20015" y="20932"/>
                  <a:pt x="20014" y="20907"/>
                  <a:pt x="20013" y="20883"/>
                </a:cubicBezTo>
                <a:lnTo>
                  <a:pt x="20013" y="20876"/>
                </a:lnTo>
                <a:cubicBezTo>
                  <a:pt x="20013" y="20866"/>
                  <a:pt x="20012" y="20857"/>
                  <a:pt x="20011" y="20847"/>
                </a:cubicBezTo>
                <a:lnTo>
                  <a:pt x="20011" y="20847"/>
                </a:lnTo>
                <a:cubicBezTo>
                  <a:pt x="20012" y="20859"/>
                  <a:pt x="20013" y="20871"/>
                  <a:pt x="20013" y="20883"/>
                </a:cubicBezTo>
                <a:lnTo>
                  <a:pt x="20013" y="20957"/>
                </a:lnTo>
                <a:cubicBezTo>
                  <a:pt x="17070" y="21477"/>
                  <a:pt x="13885" y="21600"/>
                  <a:pt x="10809" y="21600"/>
                </a:cubicBezTo>
                <a:cubicBezTo>
                  <a:pt x="7733" y="21600"/>
                  <a:pt x="4554" y="21486"/>
                  <a:pt x="1583" y="20966"/>
                </a:cubicBezTo>
                <a:cubicBezTo>
                  <a:pt x="1583" y="20965"/>
                  <a:pt x="1583" y="20965"/>
                  <a:pt x="1583" y="20965"/>
                </a:cubicBezTo>
                <a:lnTo>
                  <a:pt x="1589" y="20966"/>
                </a:lnTo>
                <a:lnTo>
                  <a:pt x="1589" y="20884"/>
                </a:lnTo>
                <a:lnTo>
                  <a:pt x="1583" y="20965"/>
                </a:lnTo>
                <a:lnTo>
                  <a:pt x="1291" y="20908"/>
                </a:lnTo>
                <a:cubicBezTo>
                  <a:pt x="635" y="20735"/>
                  <a:pt x="257" y="20276"/>
                  <a:pt x="169" y="19011"/>
                </a:cubicBezTo>
                <a:cubicBezTo>
                  <a:pt x="0" y="16307"/>
                  <a:pt x="0" y="13564"/>
                  <a:pt x="0" y="10783"/>
                </a:cubicBezTo>
                <a:cubicBezTo>
                  <a:pt x="0" y="8043"/>
                  <a:pt x="0" y="5300"/>
                  <a:pt x="162" y="2599"/>
                </a:cubicBezTo>
                <a:cubicBezTo>
                  <a:pt x="251" y="1335"/>
                  <a:pt x="630" y="875"/>
                  <a:pt x="1284" y="703"/>
                </a:cubicBezTo>
                <a:lnTo>
                  <a:pt x="1576" y="646"/>
                </a:lnTo>
                <a:lnTo>
                  <a:pt x="1581" y="726"/>
                </a:lnTo>
                <a:lnTo>
                  <a:pt x="1581" y="645"/>
                </a:lnTo>
                <a:lnTo>
                  <a:pt x="1576" y="646"/>
                </a:lnTo>
                <a:lnTo>
                  <a:pt x="1576" y="645"/>
                </a:lnTo>
                <a:cubicBezTo>
                  <a:pt x="4554" y="128"/>
                  <a:pt x="7738" y="0"/>
                  <a:pt x="10811" y="0"/>
                </a:cubicBezTo>
                <a:close/>
              </a:path>
            </a:pathLst>
          </a:custGeom>
          <a:solidFill>
            <a:schemeClr val="bg1">
              <a:alpha val="32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317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lobotipo Rounded Light" panose="00000400000000000000" pitchFamily="2" charset="0"/>
              <a:cs typeface="Gotham Bold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C386C12-EE90-F0AA-1E94-B4FE5FF7E9F2}"/>
              </a:ext>
            </a:extLst>
          </p:cNvPr>
          <p:cNvSpPr txBox="1"/>
          <p:nvPr/>
        </p:nvSpPr>
        <p:spPr>
          <a:xfrm>
            <a:off x="1469931" y="3399402"/>
            <a:ext cx="107082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TV ABERTA </a:t>
            </a:r>
            <a:endParaRPr kumimoji="0" lang="pt-BR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"/>
              <a:cs typeface="Gotham Bold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7F96612-74F5-51CF-82EA-43F86EE0636C}"/>
              </a:ext>
            </a:extLst>
          </p:cNvPr>
          <p:cNvSpPr txBox="1"/>
          <p:nvPr/>
        </p:nvSpPr>
        <p:spPr>
          <a:xfrm>
            <a:off x="1426318" y="4050540"/>
            <a:ext cx="1070829" cy="2539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/>
                <a:cs typeface="Gotham Bold"/>
              </a:rPr>
              <a:t>WEB</a:t>
            </a:r>
          </a:p>
        </p:txBody>
      </p:sp>
      <p:pic>
        <p:nvPicPr>
          <p:cNvPr id="19" name="Picture 28" descr="ip&quot; Icon - Download for free – Iconduck">
            <a:extLst>
              <a:ext uri="{FF2B5EF4-FFF2-40B4-BE49-F238E27FC236}">
                <a16:creationId xmlns:a16="http://schemas.microsoft.com/office/drawing/2014/main" id="{F249F57B-2590-F490-B704-B2477E278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0349" y="4000001"/>
            <a:ext cx="223123" cy="264079"/>
          </a:xfrm>
          <a:prstGeom prst="rect">
            <a:avLst/>
          </a:prstGeom>
          <a:ln w="12700">
            <a:noFill/>
            <a:prstDash val="sysDot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Graphic 26">
            <a:extLst>
              <a:ext uri="{FF2B5EF4-FFF2-40B4-BE49-F238E27FC236}">
                <a16:creationId xmlns:a16="http://schemas.microsoft.com/office/drawing/2014/main" id="{51D1F7BE-8669-6EB4-4578-EA7DC9B24A5B}"/>
              </a:ext>
            </a:extLst>
          </p:cNvPr>
          <p:cNvSpPr/>
          <p:nvPr/>
        </p:nvSpPr>
        <p:spPr>
          <a:xfrm>
            <a:off x="6139165" y="2677909"/>
            <a:ext cx="5479673" cy="3027198"/>
          </a:xfrm>
          <a:custGeom>
            <a:avLst/>
            <a:gdLst>
              <a:gd name="connsiteX0" fmla="*/ 3604531 w 3632104"/>
              <a:gd name="connsiteY0" fmla="*/ 249426 h 2261454"/>
              <a:gd name="connsiteX1" fmla="*/ 3392018 w 3632104"/>
              <a:gd name="connsiteY1" fmla="*/ 69148 h 2261454"/>
              <a:gd name="connsiteX2" fmla="*/ 1813723 w 3632104"/>
              <a:gd name="connsiteY2" fmla="*/ 0 h 2261454"/>
              <a:gd name="connsiteX3" fmla="*/ 240467 w 3632104"/>
              <a:gd name="connsiteY3" fmla="*/ 69148 h 2261454"/>
              <a:gd name="connsiteX4" fmla="*/ 240087 w 3632104"/>
              <a:gd name="connsiteY4" fmla="*/ 69148 h 2261454"/>
              <a:gd name="connsiteX5" fmla="*/ 23010 w 3632104"/>
              <a:gd name="connsiteY5" fmla="*/ 249141 h 2261454"/>
              <a:gd name="connsiteX6" fmla="*/ 0 w 3632104"/>
              <a:gd name="connsiteY6" fmla="*/ 1133055 h 2261454"/>
              <a:gd name="connsiteX7" fmla="*/ 23010 w 3632104"/>
              <a:gd name="connsiteY7" fmla="*/ 2012314 h 2261454"/>
              <a:gd name="connsiteX8" fmla="*/ 240087 w 3632104"/>
              <a:gd name="connsiteY8" fmla="*/ 2192307 h 2261454"/>
              <a:gd name="connsiteX9" fmla="*/ 1813818 w 3632104"/>
              <a:gd name="connsiteY9" fmla="*/ 2261455 h 2261454"/>
              <a:gd name="connsiteX10" fmla="*/ 3391733 w 3632104"/>
              <a:gd name="connsiteY10" fmla="*/ 2192402 h 2261454"/>
              <a:gd name="connsiteX11" fmla="*/ 3604531 w 3632104"/>
              <a:gd name="connsiteY11" fmla="*/ 2012124 h 2261454"/>
              <a:gd name="connsiteX12" fmla="*/ 3632105 w 3632104"/>
              <a:gd name="connsiteY12" fmla="*/ 1133055 h 2261454"/>
              <a:gd name="connsiteX13" fmla="*/ 3604531 w 3632104"/>
              <a:gd name="connsiteY13" fmla="*/ 249331 h 226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32104" h="2261454">
                <a:moveTo>
                  <a:pt x="3604531" y="249426"/>
                </a:moveTo>
                <a:cubicBezTo>
                  <a:pt x="3587701" y="111130"/>
                  <a:pt x="3525326" y="82065"/>
                  <a:pt x="3392018" y="69148"/>
                </a:cubicBezTo>
                <a:cubicBezTo>
                  <a:pt x="2959007" y="21941"/>
                  <a:pt x="2457535" y="0"/>
                  <a:pt x="1813723" y="0"/>
                </a:cubicBezTo>
                <a:cubicBezTo>
                  <a:pt x="1169911" y="0"/>
                  <a:pt x="669200" y="21941"/>
                  <a:pt x="240467" y="69148"/>
                </a:cubicBezTo>
                <a:lnTo>
                  <a:pt x="240087" y="69148"/>
                </a:lnTo>
                <a:cubicBezTo>
                  <a:pt x="71313" y="84915"/>
                  <a:pt x="36607" y="137441"/>
                  <a:pt x="23010" y="249141"/>
                </a:cubicBezTo>
                <a:cubicBezTo>
                  <a:pt x="0" y="538840"/>
                  <a:pt x="0" y="827494"/>
                  <a:pt x="0" y="1133055"/>
                </a:cubicBezTo>
                <a:cubicBezTo>
                  <a:pt x="0" y="1422943"/>
                  <a:pt x="0" y="1722615"/>
                  <a:pt x="23010" y="2012314"/>
                </a:cubicBezTo>
                <a:cubicBezTo>
                  <a:pt x="39935" y="2150515"/>
                  <a:pt x="103736" y="2179579"/>
                  <a:pt x="240087" y="2192307"/>
                </a:cubicBezTo>
                <a:cubicBezTo>
                  <a:pt x="669200" y="2239514"/>
                  <a:pt x="1169055" y="2261455"/>
                  <a:pt x="1813818" y="2261455"/>
                </a:cubicBezTo>
                <a:cubicBezTo>
                  <a:pt x="2458581" y="2261455"/>
                  <a:pt x="2959102" y="2239514"/>
                  <a:pt x="3391733" y="2192402"/>
                </a:cubicBezTo>
                <a:cubicBezTo>
                  <a:pt x="3525326" y="2179485"/>
                  <a:pt x="3587701" y="2150420"/>
                  <a:pt x="3604531" y="2012124"/>
                </a:cubicBezTo>
                <a:cubicBezTo>
                  <a:pt x="3632105" y="1722520"/>
                  <a:pt x="3632105" y="1422848"/>
                  <a:pt x="3632105" y="1133055"/>
                </a:cubicBezTo>
                <a:cubicBezTo>
                  <a:pt x="3632105" y="827494"/>
                  <a:pt x="3632105" y="538935"/>
                  <a:pt x="3604531" y="249331"/>
                </a:cubicBezTo>
                <a:close/>
              </a:path>
            </a:pathLst>
          </a:custGeom>
          <a:noFill/>
          <a:ln w="4127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"/>
              <a:ea typeface="+mn-ea"/>
              <a:cs typeface="Gotham Bold"/>
            </a:endParaRPr>
          </a:p>
        </p:txBody>
      </p:sp>
      <p:sp>
        <p:nvSpPr>
          <p:cNvPr id="26" name="Oval 75">
            <a:extLst>
              <a:ext uri="{FF2B5EF4-FFF2-40B4-BE49-F238E27FC236}">
                <a16:creationId xmlns:a16="http://schemas.microsoft.com/office/drawing/2014/main" id="{444137B4-8441-5913-C19E-1D3491407AE1}"/>
              </a:ext>
            </a:extLst>
          </p:cNvPr>
          <p:cNvSpPr/>
          <p:nvPr/>
        </p:nvSpPr>
        <p:spPr>
          <a:xfrm rot="16790902">
            <a:off x="10934766" y="2089810"/>
            <a:ext cx="1076491" cy="1113264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31746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otham Bold"/>
              <a:cs typeface="Gotham Bold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99519E8F-9C80-50A1-3026-C7BD0B710C77}"/>
              </a:ext>
            </a:extLst>
          </p:cNvPr>
          <p:cNvSpPr txBox="1"/>
          <p:nvPr/>
        </p:nvSpPr>
        <p:spPr>
          <a:xfrm>
            <a:off x="10878575" y="2423793"/>
            <a:ext cx="1201115" cy="5303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MODELO 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TV 3.0</a:t>
            </a:r>
          </a:p>
        </p:txBody>
      </p:sp>
      <p:pic>
        <p:nvPicPr>
          <p:cNvPr id="28" name="Picture 6" descr="Casa branca - ícones de interface grátis">
            <a:extLst>
              <a:ext uri="{FF2B5EF4-FFF2-40B4-BE49-F238E27FC236}">
                <a16:creationId xmlns:a16="http://schemas.microsoft.com/office/drawing/2014/main" id="{7E36B2C6-7700-A485-6179-E5C35EA50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0927" y="2968333"/>
            <a:ext cx="1496877" cy="156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" descr="Hotspot, wifi, wireless icon - Download on Iconfinder">
            <a:extLst>
              <a:ext uri="{FF2B5EF4-FFF2-40B4-BE49-F238E27FC236}">
                <a16:creationId xmlns:a16="http://schemas.microsoft.com/office/drawing/2014/main" id="{7BE26FFE-A768-F569-0896-831E3A532C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886074">
            <a:off x="10327001" y="3993839"/>
            <a:ext cx="223325" cy="21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2" descr="Televisão com antena - ícones de tecnologia grátis">
            <a:extLst>
              <a:ext uri="{FF2B5EF4-FFF2-40B4-BE49-F238E27FC236}">
                <a16:creationId xmlns:a16="http://schemas.microsoft.com/office/drawing/2014/main" id="{58696CEB-E33E-50B9-1962-C2FBDB3323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3510" y="3825827"/>
            <a:ext cx="528887" cy="552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44004661-1850-5F6E-DB33-6828545B6FAE}"/>
              </a:ext>
            </a:extLst>
          </p:cNvPr>
          <p:cNvSpPr txBox="1"/>
          <p:nvPr/>
        </p:nvSpPr>
        <p:spPr>
          <a:xfrm>
            <a:off x="6365561" y="4725705"/>
            <a:ext cx="5479672" cy="779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CONVERGÊNCIA ENTRE AMBIENTES EM TODA A CADEIA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Texto Light" panose="00000400000000000000" pitchFamily="50" charset="0"/>
              <a:cs typeface="Gotham Bold"/>
              <a:sym typeface="Helvetica Neue"/>
            </a:endParaRPr>
          </a:p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TV COM ANTENA BUILT IN </a:t>
            </a:r>
          </a:p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Corporativa" panose="020B0503020202020204" pitchFamily="34" charset="0"/>
                <a:cs typeface="Gotham Bold"/>
                <a:sym typeface="Helvetica Neue"/>
              </a:rPr>
              <a:t>EXPERIÊNCIA SEAMLESS | BROADCAST + BROADBAND</a:t>
            </a:r>
          </a:p>
        </p:txBody>
      </p:sp>
      <p:sp>
        <p:nvSpPr>
          <p:cNvPr id="32" name="Forma Livre: Forma 1">
            <a:extLst>
              <a:ext uri="{FF2B5EF4-FFF2-40B4-BE49-F238E27FC236}">
                <a16:creationId xmlns:a16="http://schemas.microsoft.com/office/drawing/2014/main" id="{4F62003E-24A4-170A-E50E-81F566F79004}"/>
              </a:ext>
            </a:extLst>
          </p:cNvPr>
          <p:cNvSpPr/>
          <p:nvPr/>
        </p:nvSpPr>
        <p:spPr>
          <a:xfrm>
            <a:off x="8105613" y="3434987"/>
            <a:ext cx="1728740" cy="2872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9" y="20785"/>
                </a:moveTo>
                <a:lnTo>
                  <a:pt x="1628" y="20801"/>
                </a:lnTo>
                <a:lnTo>
                  <a:pt x="1629" y="20801"/>
                </a:lnTo>
                <a:close/>
                <a:moveTo>
                  <a:pt x="19956" y="20752"/>
                </a:moveTo>
                <a:lnTo>
                  <a:pt x="19956" y="20752"/>
                </a:lnTo>
                <a:cubicBezTo>
                  <a:pt x="19957" y="20763"/>
                  <a:pt x="19957" y="20773"/>
                  <a:pt x="19958" y="20783"/>
                </a:cubicBezTo>
                <a:lnTo>
                  <a:pt x="19958" y="20803"/>
                </a:lnTo>
                <a:lnTo>
                  <a:pt x="19959" y="20803"/>
                </a:lnTo>
                <a:cubicBezTo>
                  <a:pt x="19958" y="20796"/>
                  <a:pt x="19958" y="20790"/>
                  <a:pt x="19958" y="20783"/>
                </a:cubicBezTo>
                <a:lnTo>
                  <a:pt x="19958" y="20776"/>
                </a:lnTo>
                <a:cubicBezTo>
                  <a:pt x="19957" y="20768"/>
                  <a:pt x="19957" y="20760"/>
                  <a:pt x="19956" y="20752"/>
                </a:cubicBezTo>
                <a:close/>
                <a:moveTo>
                  <a:pt x="1632" y="20679"/>
                </a:moveTo>
                <a:cubicBezTo>
                  <a:pt x="1632" y="20685"/>
                  <a:pt x="1631" y="20691"/>
                  <a:pt x="1631" y="20697"/>
                </a:cubicBezTo>
                <a:lnTo>
                  <a:pt x="1632" y="20697"/>
                </a:lnTo>
                <a:close/>
                <a:moveTo>
                  <a:pt x="19968" y="20643"/>
                </a:moveTo>
                <a:lnTo>
                  <a:pt x="19968" y="20643"/>
                </a:lnTo>
                <a:lnTo>
                  <a:pt x="19970" y="20677"/>
                </a:lnTo>
                <a:lnTo>
                  <a:pt x="19970" y="20701"/>
                </a:lnTo>
                <a:lnTo>
                  <a:pt x="19971" y="20700"/>
                </a:lnTo>
                <a:lnTo>
                  <a:pt x="19970" y="20677"/>
                </a:lnTo>
                <a:lnTo>
                  <a:pt x="19970" y="20671"/>
                </a:lnTo>
                <a:cubicBezTo>
                  <a:pt x="19969" y="20661"/>
                  <a:pt x="19969" y="20652"/>
                  <a:pt x="19968" y="20643"/>
                </a:cubicBezTo>
                <a:close/>
                <a:moveTo>
                  <a:pt x="1672" y="20582"/>
                </a:moveTo>
                <a:cubicBezTo>
                  <a:pt x="1671" y="20587"/>
                  <a:pt x="1671" y="20592"/>
                  <a:pt x="1671" y="20597"/>
                </a:cubicBezTo>
                <a:lnTo>
                  <a:pt x="1672" y="20597"/>
                </a:lnTo>
                <a:close/>
                <a:moveTo>
                  <a:pt x="21396" y="18996"/>
                </a:moveTo>
                <a:cubicBezTo>
                  <a:pt x="21396" y="18997"/>
                  <a:pt x="21396" y="18998"/>
                  <a:pt x="21396" y="18999"/>
                </a:cubicBezTo>
                <a:lnTo>
                  <a:pt x="21415" y="18999"/>
                </a:lnTo>
                <a:close/>
                <a:moveTo>
                  <a:pt x="223" y="18991"/>
                </a:moveTo>
                <a:lnTo>
                  <a:pt x="213" y="18992"/>
                </a:lnTo>
                <a:lnTo>
                  <a:pt x="223" y="18992"/>
                </a:lnTo>
                <a:cubicBezTo>
                  <a:pt x="223" y="18992"/>
                  <a:pt x="223" y="18991"/>
                  <a:pt x="223" y="18991"/>
                </a:cubicBezTo>
                <a:close/>
                <a:moveTo>
                  <a:pt x="1664" y="1005"/>
                </a:moveTo>
                <a:lnTo>
                  <a:pt x="1663" y="1006"/>
                </a:lnTo>
                <a:lnTo>
                  <a:pt x="1664" y="1028"/>
                </a:lnTo>
                <a:close/>
                <a:moveTo>
                  <a:pt x="1625" y="906"/>
                </a:moveTo>
                <a:lnTo>
                  <a:pt x="1623" y="907"/>
                </a:lnTo>
                <a:lnTo>
                  <a:pt x="1625" y="931"/>
                </a:lnTo>
                <a:close/>
                <a:moveTo>
                  <a:pt x="1621" y="802"/>
                </a:moveTo>
                <a:lnTo>
                  <a:pt x="1619" y="802"/>
                </a:lnTo>
                <a:cubicBezTo>
                  <a:pt x="1620" y="810"/>
                  <a:pt x="1620" y="818"/>
                  <a:pt x="1621" y="825"/>
                </a:cubicBezTo>
                <a:close/>
                <a:moveTo>
                  <a:pt x="10811" y="0"/>
                </a:moveTo>
                <a:cubicBezTo>
                  <a:pt x="13884" y="0"/>
                  <a:pt x="17073" y="128"/>
                  <a:pt x="20015" y="643"/>
                </a:cubicBezTo>
                <a:cubicBezTo>
                  <a:pt x="20881" y="757"/>
                  <a:pt x="21362" y="1152"/>
                  <a:pt x="21465" y="2597"/>
                </a:cubicBezTo>
                <a:cubicBezTo>
                  <a:pt x="21600" y="5299"/>
                  <a:pt x="21600" y="8040"/>
                  <a:pt x="21600" y="10779"/>
                </a:cubicBezTo>
                <a:cubicBezTo>
                  <a:pt x="21600" y="13560"/>
                  <a:pt x="21600" y="16303"/>
                  <a:pt x="21465" y="19003"/>
                </a:cubicBezTo>
                <a:cubicBezTo>
                  <a:pt x="21362" y="20448"/>
                  <a:pt x="20881" y="20843"/>
                  <a:pt x="20015" y="20957"/>
                </a:cubicBezTo>
                <a:cubicBezTo>
                  <a:pt x="20015" y="20932"/>
                  <a:pt x="20014" y="20907"/>
                  <a:pt x="20013" y="20883"/>
                </a:cubicBezTo>
                <a:lnTo>
                  <a:pt x="20013" y="20876"/>
                </a:lnTo>
                <a:cubicBezTo>
                  <a:pt x="20013" y="20866"/>
                  <a:pt x="20012" y="20857"/>
                  <a:pt x="20011" y="20847"/>
                </a:cubicBezTo>
                <a:lnTo>
                  <a:pt x="20011" y="20847"/>
                </a:lnTo>
                <a:cubicBezTo>
                  <a:pt x="20012" y="20859"/>
                  <a:pt x="20013" y="20871"/>
                  <a:pt x="20013" y="20883"/>
                </a:cubicBezTo>
                <a:lnTo>
                  <a:pt x="20013" y="20957"/>
                </a:lnTo>
                <a:cubicBezTo>
                  <a:pt x="17070" y="21477"/>
                  <a:pt x="13885" y="21600"/>
                  <a:pt x="10809" y="21600"/>
                </a:cubicBezTo>
                <a:cubicBezTo>
                  <a:pt x="7733" y="21600"/>
                  <a:pt x="4554" y="21486"/>
                  <a:pt x="1583" y="20966"/>
                </a:cubicBezTo>
                <a:cubicBezTo>
                  <a:pt x="1583" y="20965"/>
                  <a:pt x="1583" y="20965"/>
                  <a:pt x="1583" y="20965"/>
                </a:cubicBezTo>
                <a:lnTo>
                  <a:pt x="1589" y="20966"/>
                </a:lnTo>
                <a:lnTo>
                  <a:pt x="1589" y="20884"/>
                </a:lnTo>
                <a:lnTo>
                  <a:pt x="1583" y="20965"/>
                </a:lnTo>
                <a:lnTo>
                  <a:pt x="1291" y="20908"/>
                </a:lnTo>
                <a:cubicBezTo>
                  <a:pt x="635" y="20735"/>
                  <a:pt x="257" y="20276"/>
                  <a:pt x="169" y="19011"/>
                </a:cubicBezTo>
                <a:cubicBezTo>
                  <a:pt x="0" y="16307"/>
                  <a:pt x="0" y="13564"/>
                  <a:pt x="0" y="10783"/>
                </a:cubicBezTo>
                <a:cubicBezTo>
                  <a:pt x="0" y="8043"/>
                  <a:pt x="0" y="5300"/>
                  <a:pt x="162" y="2599"/>
                </a:cubicBezTo>
                <a:cubicBezTo>
                  <a:pt x="251" y="1335"/>
                  <a:pt x="630" y="875"/>
                  <a:pt x="1284" y="703"/>
                </a:cubicBezTo>
                <a:lnTo>
                  <a:pt x="1576" y="646"/>
                </a:lnTo>
                <a:lnTo>
                  <a:pt x="1581" y="726"/>
                </a:lnTo>
                <a:lnTo>
                  <a:pt x="1581" y="645"/>
                </a:lnTo>
                <a:lnTo>
                  <a:pt x="1576" y="646"/>
                </a:lnTo>
                <a:lnTo>
                  <a:pt x="1576" y="645"/>
                </a:lnTo>
                <a:cubicBezTo>
                  <a:pt x="4554" y="128"/>
                  <a:pt x="7738" y="0"/>
                  <a:pt x="10811" y="0"/>
                </a:cubicBezTo>
                <a:close/>
              </a:path>
            </a:pathLst>
          </a:custGeom>
          <a:solidFill>
            <a:schemeClr val="bg1">
              <a:alpha val="32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317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 Light" panose="00000400000000000000" pitchFamily="2" charset="0"/>
              <a:cs typeface="Gotham Bold"/>
            </a:endParaRPr>
          </a:p>
        </p:txBody>
      </p:sp>
      <p:pic>
        <p:nvPicPr>
          <p:cNvPr id="33" name="Gráfico 32" descr="Torre de Celular com preenchimento sólido">
            <a:extLst>
              <a:ext uri="{FF2B5EF4-FFF2-40B4-BE49-F238E27FC236}">
                <a16:creationId xmlns:a16="http://schemas.microsoft.com/office/drawing/2014/main" id="{930A4973-69A6-F24A-5F91-2E2D410752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94523" y="3130777"/>
            <a:ext cx="649531" cy="677968"/>
          </a:xfrm>
          <a:prstGeom prst="rect">
            <a:avLst/>
          </a:prstGeom>
        </p:spPr>
      </p:pic>
      <p:pic>
        <p:nvPicPr>
          <p:cNvPr id="34" name="Picture 24" descr="Símbolo da internet - ícones de mapas e bandeiras grátis">
            <a:extLst>
              <a:ext uri="{FF2B5EF4-FFF2-40B4-BE49-F238E27FC236}">
                <a16:creationId xmlns:a16="http://schemas.microsoft.com/office/drawing/2014/main" id="{B765FB70-B48A-9A3E-3172-89747D3DF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7317" y="3990513"/>
            <a:ext cx="480806" cy="501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Forma Livre: Forma 1">
            <a:extLst>
              <a:ext uri="{FF2B5EF4-FFF2-40B4-BE49-F238E27FC236}">
                <a16:creationId xmlns:a16="http://schemas.microsoft.com/office/drawing/2014/main" id="{009323EB-5BCB-A305-F0AA-A17E04B70C73}"/>
              </a:ext>
            </a:extLst>
          </p:cNvPr>
          <p:cNvSpPr/>
          <p:nvPr/>
        </p:nvSpPr>
        <p:spPr>
          <a:xfrm>
            <a:off x="8138585" y="4100790"/>
            <a:ext cx="1728740" cy="288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9" y="20785"/>
                </a:moveTo>
                <a:lnTo>
                  <a:pt x="1628" y="20801"/>
                </a:lnTo>
                <a:lnTo>
                  <a:pt x="1629" y="20801"/>
                </a:lnTo>
                <a:close/>
                <a:moveTo>
                  <a:pt x="19956" y="20752"/>
                </a:moveTo>
                <a:lnTo>
                  <a:pt x="19956" y="20752"/>
                </a:lnTo>
                <a:cubicBezTo>
                  <a:pt x="19957" y="20763"/>
                  <a:pt x="19957" y="20773"/>
                  <a:pt x="19958" y="20783"/>
                </a:cubicBezTo>
                <a:lnTo>
                  <a:pt x="19958" y="20803"/>
                </a:lnTo>
                <a:lnTo>
                  <a:pt x="19959" y="20803"/>
                </a:lnTo>
                <a:cubicBezTo>
                  <a:pt x="19958" y="20796"/>
                  <a:pt x="19958" y="20790"/>
                  <a:pt x="19958" y="20783"/>
                </a:cubicBezTo>
                <a:lnTo>
                  <a:pt x="19958" y="20776"/>
                </a:lnTo>
                <a:cubicBezTo>
                  <a:pt x="19957" y="20768"/>
                  <a:pt x="19957" y="20760"/>
                  <a:pt x="19956" y="20752"/>
                </a:cubicBezTo>
                <a:close/>
                <a:moveTo>
                  <a:pt x="1632" y="20679"/>
                </a:moveTo>
                <a:cubicBezTo>
                  <a:pt x="1632" y="20685"/>
                  <a:pt x="1631" y="20691"/>
                  <a:pt x="1631" y="20697"/>
                </a:cubicBezTo>
                <a:lnTo>
                  <a:pt x="1632" y="20697"/>
                </a:lnTo>
                <a:close/>
                <a:moveTo>
                  <a:pt x="19968" y="20643"/>
                </a:moveTo>
                <a:lnTo>
                  <a:pt x="19968" y="20643"/>
                </a:lnTo>
                <a:lnTo>
                  <a:pt x="19970" y="20677"/>
                </a:lnTo>
                <a:lnTo>
                  <a:pt x="19970" y="20701"/>
                </a:lnTo>
                <a:lnTo>
                  <a:pt x="19971" y="20700"/>
                </a:lnTo>
                <a:lnTo>
                  <a:pt x="19970" y="20677"/>
                </a:lnTo>
                <a:lnTo>
                  <a:pt x="19970" y="20671"/>
                </a:lnTo>
                <a:cubicBezTo>
                  <a:pt x="19969" y="20661"/>
                  <a:pt x="19969" y="20652"/>
                  <a:pt x="19968" y="20643"/>
                </a:cubicBezTo>
                <a:close/>
                <a:moveTo>
                  <a:pt x="1672" y="20582"/>
                </a:moveTo>
                <a:cubicBezTo>
                  <a:pt x="1671" y="20587"/>
                  <a:pt x="1671" y="20592"/>
                  <a:pt x="1671" y="20597"/>
                </a:cubicBezTo>
                <a:lnTo>
                  <a:pt x="1672" y="20597"/>
                </a:lnTo>
                <a:close/>
                <a:moveTo>
                  <a:pt x="21396" y="18996"/>
                </a:moveTo>
                <a:cubicBezTo>
                  <a:pt x="21396" y="18997"/>
                  <a:pt x="21396" y="18998"/>
                  <a:pt x="21396" y="18999"/>
                </a:cubicBezTo>
                <a:lnTo>
                  <a:pt x="21415" y="18999"/>
                </a:lnTo>
                <a:close/>
                <a:moveTo>
                  <a:pt x="223" y="18991"/>
                </a:moveTo>
                <a:lnTo>
                  <a:pt x="213" y="18992"/>
                </a:lnTo>
                <a:lnTo>
                  <a:pt x="223" y="18992"/>
                </a:lnTo>
                <a:cubicBezTo>
                  <a:pt x="223" y="18992"/>
                  <a:pt x="223" y="18991"/>
                  <a:pt x="223" y="18991"/>
                </a:cubicBezTo>
                <a:close/>
                <a:moveTo>
                  <a:pt x="1664" y="1005"/>
                </a:moveTo>
                <a:lnTo>
                  <a:pt x="1663" y="1006"/>
                </a:lnTo>
                <a:lnTo>
                  <a:pt x="1664" y="1028"/>
                </a:lnTo>
                <a:close/>
                <a:moveTo>
                  <a:pt x="1625" y="906"/>
                </a:moveTo>
                <a:lnTo>
                  <a:pt x="1623" y="907"/>
                </a:lnTo>
                <a:lnTo>
                  <a:pt x="1625" y="931"/>
                </a:lnTo>
                <a:close/>
                <a:moveTo>
                  <a:pt x="1621" y="802"/>
                </a:moveTo>
                <a:lnTo>
                  <a:pt x="1619" y="802"/>
                </a:lnTo>
                <a:cubicBezTo>
                  <a:pt x="1620" y="810"/>
                  <a:pt x="1620" y="818"/>
                  <a:pt x="1621" y="825"/>
                </a:cubicBezTo>
                <a:close/>
                <a:moveTo>
                  <a:pt x="10811" y="0"/>
                </a:moveTo>
                <a:cubicBezTo>
                  <a:pt x="13884" y="0"/>
                  <a:pt x="17073" y="128"/>
                  <a:pt x="20015" y="643"/>
                </a:cubicBezTo>
                <a:cubicBezTo>
                  <a:pt x="20881" y="757"/>
                  <a:pt x="21362" y="1152"/>
                  <a:pt x="21465" y="2597"/>
                </a:cubicBezTo>
                <a:cubicBezTo>
                  <a:pt x="21600" y="5299"/>
                  <a:pt x="21600" y="8040"/>
                  <a:pt x="21600" y="10779"/>
                </a:cubicBezTo>
                <a:cubicBezTo>
                  <a:pt x="21600" y="13560"/>
                  <a:pt x="21600" y="16303"/>
                  <a:pt x="21465" y="19003"/>
                </a:cubicBezTo>
                <a:cubicBezTo>
                  <a:pt x="21362" y="20448"/>
                  <a:pt x="20881" y="20843"/>
                  <a:pt x="20015" y="20957"/>
                </a:cubicBezTo>
                <a:cubicBezTo>
                  <a:pt x="20015" y="20932"/>
                  <a:pt x="20014" y="20907"/>
                  <a:pt x="20013" y="20883"/>
                </a:cubicBezTo>
                <a:lnTo>
                  <a:pt x="20013" y="20876"/>
                </a:lnTo>
                <a:cubicBezTo>
                  <a:pt x="20013" y="20866"/>
                  <a:pt x="20012" y="20857"/>
                  <a:pt x="20011" y="20847"/>
                </a:cubicBezTo>
                <a:lnTo>
                  <a:pt x="20011" y="20847"/>
                </a:lnTo>
                <a:cubicBezTo>
                  <a:pt x="20012" y="20859"/>
                  <a:pt x="20013" y="20871"/>
                  <a:pt x="20013" y="20883"/>
                </a:cubicBezTo>
                <a:lnTo>
                  <a:pt x="20013" y="20957"/>
                </a:lnTo>
                <a:cubicBezTo>
                  <a:pt x="17070" y="21477"/>
                  <a:pt x="13885" y="21600"/>
                  <a:pt x="10809" y="21600"/>
                </a:cubicBezTo>
                <a:cubicBezTo>
                  <a:pt x="7733" y="21600"/>
                  <a:pt x="4554" y="21486"/>
                  <a:pt x="1583" y="20966"/>
                </a:cubicBezTo>
                <a:cubicBezTo>
                  <a:pt x="1583" y="20965"/>
                  <a:pt x="1583" y="20965"/>
                  <a:pt x="1583" y="20965"/>
                </a:cubicBezTo>
                <a:lnTo>
                  <a:pt x="1589" y="20966"/>
                </a:lnTo>
                <a:lnTo>
                  <a:pt x="1589" y="20884"/>
                </a:lnTo>
                <a:lnTo>
                  <a:pt x="1583" y="20965"/>
                </a:lnTo>
                <a:lnTo>
                  <a:pt x="1291" y="20908"/>
                </a:lnTo>
                <a:cubicBezTo>
                  <a:pt x="635" y="20735"/>
                  <a:pt x="257" y="20276"/>
                  <a:pt x="169" y="19011"/>
                </a:cubicBezTo>
                <a:cubicBezTo>
                  <a:pt x="0" y="16307"/>
                  <a:pt x="0" y="13564"/>
                  <a:pt x="0" y="10783"/>
                </a:cubicBezTo>
                <a:cubicBezTo>
                  <a:pt x="0" y="8043"/>
                  <a:pt x="0" y="5300"/>
                  <a:pt x="162" y="2599"/>
                </a:cubicBezTo>
                <a:cubicBezTo>
                  <a:pt x="251" y="1335"/>
                  <a:pt x="630" y="875"/>
                  <a:pt x="1284" y="703"/>
                </a:cubicBezTo>
                <a:lnTo>
                  <a:pt x="1576" y="646"/>
                </a:lnTo>
                <a:lnTo>
                  <a:pt x="1581" y="726"/>
                </a:lnTo>
                <a:lnTo>
                  <a:pt x="1581" y="645"/>
                </a:lnTo>
                <a:lnTo>
                  <a:pt x="1576" y="646"/>
                </a:lnTo>
                <a:lnTo>
                  <a:pt x="1576" y="645"/>
                </a:lnTo>
                <a:cubicBezTo>
                  <a:pt x="4554" y="128"/>
                  <a:pt x="7738" y="0"/>
                  <a:pt x="10811" y="0"/>
                </a:cubicBezTo>
                <a:close/>
              </a:path>
            </a:pathLst>
          </a:custGeom>
          <a:solidFill>
            <a:schemeClr val="bg1">
              <a:alpha val="32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317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 Light" panose="00000400000000000000" pitchFamily="2" charset="0"/>
              <a:cs typeface="Gotham Bold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ACD59B8C-6FBA-4B47-E680-15C7F231608E}"/>
              </a:ext>
            </a:extLst>
          </p:cNvPr>
          <p:cNvSpPr txBox="1"/>
          <p:nvPr/>
        </p:nvSpPr>
        <p:spPr>
          <a:xfrm>
            <a:off x="8489638" y="4127002"/>
            <a:ext cx="110520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BROADBAND</a:t>
            </a:r>
            <a:endParaRPr kumimoji="0" lang="pt-BR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"/>
              <a:cs typeface="Gotham Bold"/>
            </a:endParaRPr>
          </a:p>
        </p:txBody>
      </p:sp>
      <p:sp>
        <p:nvSpPr>
          <p:cNvPr id="37" name="Forma Livre: Forma 1">
            <a:extLst>
              <a:ext uri="{FF2B5EF4-FFF2-40B4-BE49-F238E27FC236}">
                <a16:creationId xmlns:a16="http://schemas.microsoft.com/office/drawing/2014/main" id="{B46DF034-E585-4035-19D7-BE15E10195EB}"/>
              </a:ext>
            </a:extLst>
          </p:cNvPr>
          <p:cNvSpPr/>
          <p:nvPr/>
        </p:nvSpPr>
        <p:spPr>
          <a:xfrm>
            <a:off x="6365562" y="3332045"/>
            <a:ext cx="1452673" cy="11411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9" y="20785"/>
                </a:moveTo>
                <a:lnTo>
                  <a:pt x="1628" y="20801"/>
                </a:lnTo>
                <a:lnTo>
                  <a:pt x="1629" y="20801"/>
                </a:lnTo>
                <a:close/>
                <a:moveTo>
                  <a:pt x="19956" y="20752"/>
                </a:moveTo>
                <a:lnTo>
                  <a:pt x="19956" y="20752"/>
                </a:lnTo>
                <a:cubicBezTo>
                  <a:pt x="19957" y="20763"/>
                  <a:pt x="19957" y="20773"/>
                  <a:pt x="19958" y="20783"/>
                </a:cubicBezTo>
                <a:lnTo>
                  <a:pt x="19958" y="20803"/>
                </a:lnTo>
                <a:lnTo>
                  <a:pt x="19959" y="20803"/>
                </a:lnTo>
                <a:cubicBezTo>
                  <a:pt x="19958" y="20796"/>
                  <a:pt x="19958" y="20790"/>
                  <a:pt x="19958" y="20783"/>
                </a:cubicBezTo>
                <a:lnTo>
                  <a:pt x="19958" y="20776"/>
                </a:lnTo>
                <a:cubicBezTo>
                  <a:pt x="19957" y="20768"/>
                  <a:pt x="19957" y="20760"/>
                  <a:pt x="19956" y="20752"/>
                </a:cubicBezTo>
                <a:close/>
                <a:moveTo>
                  <a:pt x="1632" y="20679"/>
                </a:moveTo>
                <a:cubicBezTo>
                  <a:pt x="1632" y="20685"/>
                  <a:pt x="1631" y="20691"/>
                  <a:pt x="1631" y="20697"/>
                </a:cubicBezTo>
                <a:lnTo>
                  <a:pt x="1632" y="20697"/>
                </a:lnTo>
                <a:close/>
                <a:moveTo>
                  <a:pt x="19968" y="20643"/>
                </a:moveTo>
                <a:lnTo>
                  <a:pt x="19968" y="20643"/>
                </a:lnTo>
                <a:lnTo>
                  <a:pt x="19970" y="20677"/>
                </a:lnTo>
                <a:lnTo>
                  <a:pt x="19970" y="20701"/>
                </a:lnTo>
                <a:lnTo>
                  <a:pt x="19971" y="20700"/>
                </a:lnTo>
                <a:lnTo>
                  <a:pt x="19970" y="20677"/>
                </a:lnTo>
                <a:lnTo>
                  <a:pt x="19970" y="20671"/>
                </a:lnTo>
                <a:cubicBezTo>
                  <a:pt x="19969" y="20661"/>
                  <a:pt x="19969" y="20652"/>
                  <a:pt x="19968" y="20643"/>
                </a:cubicBezTo>
                <a:close/>
                <a:moveTo>
                  <a:pt x="1672" y="20582"/>
                </a:moveTo>
                <a:cubicBezTo>
                  <a:pt x="1671" y="20587"/>
                  <a:pt x="1671" y="20592"/>
                  <a:pt x="1671" y="20597"/>
                </a:cubicBezTo>
                <a:lnTo>
                  <a:pt x="1672" y="20597"/>
                </a:lnTo>
                <a:close/>
                <a:moveTo>
                  <a:pt x="21396" y="18996"/>
                </a:moveTo>
                <a:cubicBezTo>
                  <a:pt x="21396" y="18997"/>
                  <a:pt x="21396" y="18998"/>
                  <a:pt x="21396" y="18999"/>
                </a:cubicBezTo>
                <a:lnTo>
                  <a:pt x="21415" y="18999"/>
                </a:lnTo>
                <a:close/>
                <a:moveTo>
                  <a:pt x="223" y="18991"/>
                </a:moveTo>
                <a:lnTo>
                  <a:pt x="213" y="18992"/>
                </a:lnTo>
                <a:lnTo>
                  <a:pt x="223" y="18992"/>
                </a:lnTo>
                <a:cubicBezTo>
                  <a:pt x="223" y="18992"/>
                  <a:pt x="223" y="18991"/>
                  <a:pt x="223" y="18991"/>
                </a:cubicBezTo>
                <a:close/>
                <a:moveTo>
                  <a:pt x="1664" y="1005"/>
                </a:moveTo>
                <a:lnTo>
                  <a:pt x="1663" y="1006"/>
                </a:lnTo>
                <a:lnTo>
                  <a:pt x="1664" y="1028"/>
                </a:lnTo>
                <a:close/>
                <a:moveTo>
                  <a:pt x="1625" y="906"/>
                </a:moveTo>
                <a:lnTo>
                  <a:pt x="1623" y="907"/>
                </a:lnTo>
                <a:lnTo>
                  <a:pt x="1625" y="931"/>
                </a:lnTo>
                <a:close/>
                <a:moveTo>
                  <a:pt x="1621" y="802"/>
                </a:moveTo>
                <a:lnTo>
                  <a:pt x="1619" y="802"/>
                </a:lnTo>
                <a:cubicBezTo>
                  <a:pt x="1620" y="810"/>
                  <a:pt x="1620" y="818"/>
                  <a:pt x="1621" y="825"/>
                </a:cubicBezTo>
                <a:close/>
                <a:moveTo>
                  <a:pt x="10811" y="0"/>
                </a:moveTo>
                <a:cubicBezTo>
                  <a:pt x="13884" y="0"/>
                  <a:pt x="17073" y="128"/>
                  <a:pt x="20015" y="643"/>
                </a:cubicBezTo>
                <a:cubicBezTo>
                  <a:pt x="20881" y="757"/>
                  <a:pt x="21362" y="1152"/>
                  <a:pt x="21465" y="2597"/>
                </a:cubicBezTo>
                <a:cubicBezTo>
                  <a:pt x="21600" y="5299"/>
                  <a:pt x="21600" y="8040"/>
                  <a:pt x="21600" y="10779"/>
                </a:cubicBezTo>
                <a:cubicBezTo>
                  <a:pt x="21600" y="13560"/>
                  <a:pt x="21600" y="16303"/>
                  <a:pt x="21465" y="19003"/>
                </a:cubicBezTo>
                <a:cubicBezTo>
                  <a:pt x="21362" y="20448"/>
                  <a:pt x="20881" y="20843"/>
                  <a:pt x="20015" y="20957"/>
                </a:cubicBezTo>
                <a:cubicBezTo>
                  <a:pt x="20015" y="20932"/>
                  <a:pt x="20014" y="20907"/>
                  <a:pt x="20013" y="20883"/>
                </a:cubicBezTo>
                <a:lnTo>
                  <a:pt x="20013" y="20876"/>
                </a:lnTo>
                <a:cubicBezTo>
                  <a:pt x="20013" y="20866"/>
                  <a:pt x="20012" y="20857"/>
                  <a:pt x="20011" y="20847"/>
                </a:cubicBezTo>
                <a:lnTo>
                  <a:pt x="20011" y="20847"/>
                </a:lnTo>
                <a:cubicBezTo>
                  <a:pt x="20012" y="20859"/>
                  <a:pt x="20013" y="20871"/>
                  <a:pt x="20013" y="20883"/>
                </a:cubicBezTo>
                <a:lnTo>
                  <a:pt x="20013" y="20957"/>
                </a:lnTo>
                <a:cubicBezTo>
                  <a:pt x="17070" y="21477"/>
                  <a:pt x="13885" y="21600"/>
                  <a:pt x="10809" y="21600"/>
                </a:cubicBezTo>
                <a:cubicBezTo>
                  <a:pt x="7733" y="21600"/>
                  <a:pt x="4554" y="21486"/>
                  <a:pt x="1583" y="20966"/>
                </a:cubicBezTo>
                <a:cubicBezTo>
                  <a:pt x="1583" y="20965"/>
                  <a:pt x="1583" y="20965"/>
                  <a:pt x="1583" y="20965"/>
                </a:cubicBezTo>
                <a:lnTo>
                  <a:pt x="1589" y="20966"/>
                </a:lnTo>
                <a:lnTo>
                  <a:pt x="1589" y="20884"/>
                </a:lnTo>
                <a:lnTo>
                  <a:pt x="1583" y="20965"/>
                </a:lnTo>
                <a:lnTo>
                  <a:pt x="1291" y="20908"/>
                </a:lnTo>
                <a:cubicBezTo>
                  <a:pt x="635" y="20735"/>
                  <a:pt x="257" y="20276"/>
                  <a:pt x="169" y="19011"/>
                </a:cubicBezTo>
                <a:cubicBezTo>
                  <a:pt x="0" y="16307"/>
                  <a:pt x="0" y="13564"/>
                  <a:pt x="0" y="10783"/>
                </a:cubicBezTo>
                <a:cubicBezTo>
                  <a:pt x="0" y="8043"/>
                  <a:pt x="0" y="5300"/>
                  <a:pt x="162" y="2599"/>
                </a:cubicBezTo>
                <a:cubicBezTo>
                  <a:pt x="251" y="1335"/>
                  <a:pt x="630" y="875"/>
                  <a:pt x="1284" y="703"/>
                </a:cubicBezTo>
                <a:lnTo>
                  <a:pt x="1576" y="646"/>
                </a:lnTo>
                <a:lnTo>
                  <a:pt x="1581" y="726"/>
                </a:lnTo>
                <a:lnTo>
                  <a:pt x="1581" y="645"/>
                </a:lnTo>
                <a:lnTo>
                  <a:pt x="1576" y="646"/>
                </a:lnTo>
                <a:lnTo>
                  <a:pt x="1576" y="645"/>
                </a:lnTo>
                <a:cubicBezTo>
                  <a:pt x="4554" y="128"/>
                  <a:pt x="7738" y="0"/>
                  <a:pt x="10811" y="0"/>
                </a:cubicBezTo>
                <a:close/>
              </a:path>
            </a:pathLst>
          </a:custGeom>
          <a:solidFill>
            <a:schemeClr val="bg1">
              <a:alpha val="32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317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Rounded Light" panose="00000400000000000000" pitchFamily="2" charset="0"/>
              <a:cs typeface="Gotham Bold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13C30FB2-AE73-BDFC-53D7-C85B13BAA83F}"/>
              </a:ext>
            </a:extLst>
          </p:cNvPr>
          <p:cNvSpPr txBox="1"/>
          <p:nvPr/>
        </p:nvSpPr>
        <p:spPr>
          <a:xfrm>
            <a:off x="8513047" y="3473414"/>
            <a:ext cx="1105206" cy="2539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/>
                <a:cs typeface="Gotham Bold"/>
              </a:rPr>
              <a:t>BROASCAST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0FC40A29-B9E2-FF74-84C2-5F93DDDE15BD}"/>
              </a:ext>
            </a:extLst>
          </p:cNvPr>
          <p:cNvSpPr txBox="1"/>
          <p:nvPr/>
        </p:nvSpPr>
        <p:spPr>
          <a:xfrm>
            <a:off x="6533819" y="3377430"/>
            <a:ext cx="1216278" cy="1076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" panose="00000500000000000000" pitchFamily="50" charset="0"/>
                <a:cs typeface="Gotham Bold"/>
                <a:sym typeface="Helvetica Neue"/>
              </a:rPr>
              <a:t>CONTEUDO E DADOS COM GESTÃO SIMULTÂNEA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Texto" panose="00000500000000000000" pitchFamily="50" charset="0"/>
              <a:cs typeface="Gotham Bold"/>
              <a:sym typeface="Helvetica Neue"/>
            </a:endParaRP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" panose="00000500000000000000" pitchFamily="50" charset="0"/>
                <a:cs typeface="Gotham Bold"/>
                <a:sym typeface="Helvetica Neue"/>
              </a:rPr>
              <a:t>HIPER LOCAL  </a:t>
            </a: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Texto" panose="00000500000000000000" pitchFamily="50" charset="0"/>
              <a:cs typeface="Gotham Bold"/>
            </a:endParaRPr>
          </a:p>
        </p:txBody>
      </p:sp>
      <p:pic>
        <p:nvPicPr>
          <p:cNvPr id="40" name="Picture 28" descr="ip&quot; Icon - Download for free – Iconduck">
            <a:extLst>
              <a:ext uri="{FF2B5EF4-FFF2-40B4-BE49-F238E27FC236}">
                <a16:creationId xmlns:a16="http://schemas.microsoft.com/office/drawing/2014/main" id="{AF4C85DF-87BE-222F-3E47-872479F38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575" y="4108162"/>
            <a:ext cx="278647" cy="3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8" descr="ip&quot; Icon - Download for free – Iconduck">
            <a:extLst>
              <a:ext uri="{FF2B5EF4-FFF2-40B4-BE49-F238E27FC236}">
                <a16:creationId xmlns:a16="http://schemas.microsoft.com/office/drawing/2014/main" id="{ED534CFD-4686-04D5-A181-13D1B6469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227" y="3414013"/>
            <a:ext cx="253315" cy="28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8" descr="ip&quot; Icon - Download for free – Iconduck">
            <a:extLst>
              <a:ext uri="{FF2B5EF4-FFF2-40B4-BE49-F238E27FC236}">
                <a16:creationId xmlns:a16="http://schemas.microsoft.com/office/drawing/2014/main" id="{E094D16D-3B13-443B-D532-A30B371E6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231" y="4092037"/>
            <a:ext cx="253315" cy="28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CaixaDeTexto 13">
            <a:extLst>
              <a:ext uri="{FF2B5EF4-FFF2-40B4-BE49-F238E27FC236}">
                <a16:creationId xmlns:a16="http://schemas.microsoft.com/office/drawing/2014/main" id="{315724F6-F9D5-B455-94F0-A8F4119B5E92}"/>
              </a:ext>
            </a:extLst>
          </p:cNvPr>
          <p:cNvSpPr txBox="1"/>
          <p:nvPr/>
        </p:nvSpPr>
        <p:spPr>
          <a:xfrm>
            <a:off x="608037" y="992287"/>
            <a:ext cx="10281944" cy="7201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0645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lobotipo Texto Black" pitchFamily="2" charset="77"/>
                <a:cs typeface="Gotham Bold"/>
                <a:sym typeface="Helvetica Neue"/>
              </a:rPr>
              <a:t>TV 3.0 : NOVO PADRÃO</a:t>
            </a:r>
            <a:endParaRPr kumimoji="0" lang="pt-BR" sz="4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lobotipo Texto Light" pitchFamily="2" charset="77"/>
              <a:cs typeface="Gotham Bold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4842528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637D4-272C-C4E2-5056-6F394CB88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6" descr="A screen shot of a television&#10;&#10;Description automatically generated">
            <a:extLst>
              <a:ext uri="{FF2B5EF4-FFF2-40B4-BE49-F238E27FC236}">
                <a16:creationId xmlns:a16="http://schemas.microsoft.com/office/drawing/2014/main" id="{47AEC482-9FBE-916B-3271-BB88064DF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3364" y="2345212"/>
            <a:ext cx="4319025" cy="2902681"/>
          </a:xfrm>
          <a:prstGeom prst="rect">
            <a:avLst/>
          </a:prstGeom>
        </p:spPr>
      </p:pic>
      <p:sp>
        <p:nvSpPr>
          <p:cNvPr id="4" name="TextBox 11">
            <a:extLst>
              <a:ext uri="{FF2B5EF4-FFF2-40B4-BE49-F238E27FC236}">
                <a16:creationId xmlns:a16="http://schemas.microsoft.com/office/drawing/2014/main" id="{64D79E36-E6E1-721E-6F89-5CAF3E6EFBE3}"/>
              </a:ext>
            </a:extLst>
          </p:cNvPr>
          <p:cNvSpPr txBox="1"/>
          <p:nvPr/>
        </p:nvSpPr>
        <p:spPr>
          <a:xfrm>
            <a:off x="358435" y="464729"/>
            <a:ext cx="8916770" cy="5963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l" defTabSz="6096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5400" b="1" kern="0" spc="-208" noProof="0" dirty="0">
                <a:solidFill>
                  <a:srgbClr val="004042"/>
                </a:solidFill>
                <a:latin typeface="Globotipo Corporativa" panose="020B0503020202020204" pitchFamily="34" charset="0"/>
                <a:ea typeface="+mn-ea"/>
                <a:cs typeface="Calibri Light" panose="020F0302020204030204" pitchFamily="34" charset="0"/>
              </a:rPr>
              <a:t>RECEPTORES ATUAIS</a:t>
            </a:r>
            <a:endParaRPr kumimoji="0" lang="pt-BR" sz="5400" b="1" i="0" u="none" strike="noStrike" kern="0" cap="all" spc="-208" normalizeH="0" baseline="0" noProof="0" dirty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ea typeface="+mn-ea"/>
              <a:cs typeface="Calibri Light" panose="020F0302020204030204" pitchFamily="34" charset="0"/>
              <a:sym typeface="Gotham Light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C606E72D-7E76-E39F-A9B4-38EDE5ACC6DC}"/>
              </a:ext>
            </a:extLst>
          </p:cNvPr>
          <p:cNvSpPr txBox="1"/>
          <p:nvPr/>
        </p:nvSpPr>
        <p:spPr>
          <a:xfrm>
            <a:off x="1670652" y="-1518316"/>
            <a:ext cx="8507650" cy="92333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DAR para Tela inicial de Samsung, LG e TCL</a:t>
            </a:r>
            <a:b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r </a:t>
            </a: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aque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 necessidade de proeminência entrando em animação por cima das tela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C28981A-3E4F-7AE0-CEB3-4D7BEADAF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46" y="2717700"/>
            <a:ext cx="3465241" cy="1949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Fórum SBTVD | T.V 2.5 English">
            <a:extLst>
              <a:ext uri="{FF2B5EF4-FFF2-40B4-BE49-F238E27FC236}">
                <a16:creationId xmlns:a16="http://schemas.microsoft.com/office/drawing/2014/main" id="{3557A108-3594-4ECF-6743-C491F2353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1477" y="243324"/>
            <a:ext cx="1352088" cy="44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1">
            <a:extLst>
              <a:ext uri="{FF2B5EF4-FFF2-40B4-BE49-F238E27FC236}">
                <a16:creationId xmlns:a16="http://schemas.microsoft.com/office/drawing/2014/main" id="{61BB6505-5970-DE2D-4E7A-F28FB5182A44}"/>
              </a:ext>
            </a:extLst>
          </p:cNvPr>
          <p:cNvSpPr txBox="1"/>
          <p:nvPr/>
        </p:nvSpPr>
        <p:spPr>
          <a:xfrm>
            <a:off x="114468" y="2118594"/>
            <a:ext cx="3833620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-122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Light"/>
              </a:rPr>
              <a:t>SAMSUNG</a:t>
            </a:r>
          </a:p>
        </p:txBody>
      </p:sp>
      <p:pic>
        <p:nvPicPr>
          <p:cNvPr id="7" name="Picture 96" descr="A screen shot of a television&#10;&#10;Description automatically generated">
            <a:extLst>
              <a:ext uri="{FF2B5EF4-FFF2-40B4-BE49-F238E27FC236}">
                <a16:creationId xmlns:a16="http://schemas.microsoft.com/office/drawing/2014/main" id="{18094CDD-E759-B187-ADB7-7A97B6EA07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227" y="2317549"/>
            <a:ext cx="4319025" cy="2902681"/>
          </a:xfrm>
          <a:prstGeom prst="rect">
            <a:avLst/>
          </a:prstGeom>
        </p:spPr>
      </p:pic>
      <p:pic>
        <p:nvPicPr>
          <p:cNvPr id="10" name="Imagem 9" descr="Interface gráfica do usuário&#10;&#10;Descrição gerada automaticamente">
            <a:extLst>
              <a:ext uri="{FF2B5EF4-FFF2-40B4-BE49-F238E27FC236}">
                <a16:creationId xmlns:a16="http://schemas.microsoft.com/office/drawing/2014/main" id="{6EAAEF2F-2159-BCFA-1806-0CF9AA24C3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959" y="2726179"/>
            <a:ext cx="3463351" cy="1948135"/>
          </a:xfrm>
          <a:prstGeom prst="rect">
            <a:avLst/>
          </a:prstGeom>
        </p:spPr>
      </p:pic>
      <p:sp>
        <p:nvSpPr>
          <p:cNvPr id="11" name="TextBox 11">
            <a:extLst>
              <a:ext uri="{FF2B5EF4-FFF2-40B4-BE49-F238E27FC236}">
                <a16:creationId xmlns:a16="http://schemas.microsoft.com/office/drawing/2014/main" id="{09837F2D-7B92-768A-AFA4-A4869E0F9B1D}"/>
              </a:ext>
            </a:extLst>
          </p:cNvPr>
          <p:cNvSpPr txBox="1"/>
          <p:nvPr/>
        </p:nvSpPr>
        <p:spPr>
          <a:xfrm>
            <a:off x="8274565" y="2118594"/>
            <a:ext cx="3833620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-122" normalizeH="0" baseline="0" noProof="0">
                <a:ln>
                  <a:noFill/>
                </a:ln>
                <a:solidFill>
                  <a:srgbClr val="004042"/>
                </a:solidFill>
                <a:effectLst/>
                <a:uLnTx/>
                <a:uFillTx/>
                <a:latin typeface="Globotipo Corporativa" panose="020B0503020202020204" pitchFamily="34" charset="0"/>
                <a:sym typeface="Gotham Light"/>
              </a:rPr>
              <a:t>LG</a:t>
            </a:r>
          </a:p>
        </p:txBody>
      </p:sp>
      <p:pic>
        <p:nvPicPr>
          <p:cNvPr id="12" name="Picture 96" descr="A screen shot of a television&#10;&#10;Description automatically generated">
            <a:extLst>
              <a:ext uri="{FF2B5EF4-FFF2-40B4-BE49-F238E27FC236}">
                <a16:creationId xmlns:a16="http://schemas.microsoft.com/office/drawing/2014/main" id="{0409913D-3F27-306A-DE8E-8B827B379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614" y="2345212"/>
            <a:ext cx="4319025" cy="2902681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E68D7C39-DA8A-54DE-D7B1-8B3881DF2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279" y="2713463"/>
            <a:ext cx="3463351" cy="19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1">
            <a:extLst>
              <a:ext uri="{FF2B5EF4-FFF2-40B4-BE49-F238E27FC236}">
                <a16:creationId xmlns:a16="http://schemas.microsoft.com/office/drawing/2014/main" id="{5B089CD1-1496-5A30-719F-508E184EF881}"/>
              </a:ext>
            </a:extLst>
          </p:cNvPr>
          <p:cNvSpPr txBox="1"/>
          <p:nvPr/>
        </p:nvSpPr>
        <p:spPr>
          <a:xfrm>
            <a:off x="3948088" y="2118594"/>
            <a:ext cx="4216982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kern="0" cap="none">
                <a:solidFill>
                  <a:srgbClr val="004042"/>
                </a:solidFill>
                <a:latin typeface="Globotipo Corporativa" panose="020B0503020202020204" pitchFamily="34" charset="0"/>
              </a:rPr>
              <a:t>TCL</a:t>
            </a:r>
            <a:endParaRPr kumimoji="0" lang="pt-BR" sz="2800" b="1" i="0" u="none" strike="noStrike" kern="0" cap="none" spc="-122" normalizeH="0" baseline="0" noProof="0">
              <a:ln>
                <a:noFill/>
              </a:ln>
              <a:solidFill>
                <a:srgbClr val="004042"/>
              </a:solidFill>
              <a:effectLst/>
              <a:uLnTx/>
              <a:uFillTx/>
              <a:latin typeface="Globotipo Corporativa" panose="020B0503020202020204" pitchFamily="34" charset="0"/>
              <a:sym typeface="Gotham Light"/>
            </a:endParaRP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9B83C7F9-4A11-EC04-BCD9-4D16102B55DE}"/>
              </a:ext>
            </a:extLst>
          </p:cNvPr>
          <p:cNvSpPr/>
          <p:nvPr/>
        </p:nvSpPr>
        <p:spPr>
          <a:xfrm>
            <a:off x="4399256" y="5616660"/>
            <a:ext cx="3312000" cy="425848"/>
          </a:xfrm>
          <a:prstGeom prst="roundRect">
            <a:avLst>
              <a:gd name="adj" fmla="val 50000"/>
            </a:avLst>
          </a:prstGeom>
          <a:gradFill>
            <a:gsLst>
              <a:gs pos="7000">
                <a:srgbClr val="004042">
                  <a:alpha val="90000"/>
                </a:srgbClr>
              </a:gs>
              <a:gs pos="95000">
                <a:srgbClr val="006D70">
                  <a:alpha val="7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0CA0A8B9-1DF3-8B59-2249-0727F5DC2117}"/>
              </a:ext>
            </a:extLst>
          </p:cNvPr>
          <p:cNvSpPr txBox="1"/>
          <p:nvPr/>
        </p:nvSpPr>
        <p:spPr>
          <a:xfrm>
            <a:off x="3064153" y="5637246"/>
            <a:ext cx="5976257" cy="7078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609600">
              <a:lnSpc>
                <a:spcPct val="70000"/>
              </a:lnSpc>
              <a:defRPr sz="4900" cap="all" spc="-122">
                <a:latin typeface="Gotham Light"/>
                <a:ea typeface="Gotham Light"/>
                <a:cs typeface="Gotham Light"/>
                <a:sym typeface="Gotham Light"/>
              </a:defRPr>
            </a:lvl1pPr>
          </a:lstStyle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300" kern="0" cap="none" dirty="0">
                <a:solidFill>
                  <a:schemeClr val="bg1"/>
                </a:solidFill>
                <a:latin typeface="Globotipo Corporativa" panose="020B0503020202020204" pitchFamily="34" charset="0"/>
              </a:rPr>
              <a:t>ONDE ESTÁ A TV ABERTA?</a:t>
            </a:r>
            <a:br>
              <a:rPr lang="pt-BR" sz="2300" kern="0" cap="none" dirty="0">
                <a:solidFill>
                  <a:schemeClr val="bg1"/>
                </a:solidFill>
                <a:latin typeface="Globotipo Corporativa" panose="020B0503020202020204" pitchFamily="34" charset="0"/>
              </a:rPr>
            </a:br>
            <a:endParaRPr lang="pt-BR" sz="2300" kern="0" cap="none" dirty="0">
              <a:solidFill>
                <a:srgbClr val="004042"/>
              </a:solidFill>
              <a:latin typeface="Globotipo Corporativa" panose="020B05030202020202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E5CCF609-D64F-15EF-1C08-32FE42ED6DB7}"/>
              </a:ext>
            </a:extLst>
          </p:cNvPr>
          <p:cNvSpPr/>
          <p:nvPr/>
        </p:nvSpPr>
        <p:spPr>
          <a:xfrm>
            <a:off x="4028013" y="1812279"/>
            <a:ext cx="8000245" cy="346114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732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518FE28D-F23F-0147-25A3-1F9033ADA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 descr="Interface gráfica do usuário&#10;&#10;Descrição gerada automaticamente">
            <a:extLst>
              <a:ext uri="{FF2B5EF4-FFF2-40B4-BE49-F238E27FC236}">
                <a16:creationId xmlns:a16="http://schemas.microsoft.com/office/drawing/2014/main" id="{825EFDEB-32A3-44A0-9FAE-CC8446967E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5" t="73109" r="71707" b="15868"/>
          <a:stretch/>
        </p:blipFill>
        <p:spPr>
          <a:xfrm>
            <a:off x="2695074" y="5053111"/>
            <a:ext cx="754470" cy="756001"/>
          </a:xfrm>
          <a:prstGeom prst="roundRect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0082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9_Office Theme">
  <a:themeElements>
    <a:clrScheme name="Globo 21">
      <a:dk1>
        <a:srgbClr val="595959"/>
      </a:dk1>
      <a:lt1>
        <a:srgbClr val="FFFFFF"/>
      </a:lt1>
      <a:dk2>
        <a:srgbClr val="0031FF"/>
      </a:dk2>
      <a:lt2>
        <a:srgbClr val="00B8FF"/>
      </a:lt2>
      <a:accent1>
        <a:srgbClr val="FFE22B"/>
      </a:accent1>
      <a:accent2>
        <a:srgbClr val="FFA600"/>
      </a:accent2>
      <a:accent3>
        <a:srgbClr val="FF3132"/>
      </a:accent3>
      <a:accent4>
        <a:srgbClr val="FF158C"/>
      </a:accent4>
      <a:accent5>
        <a:srgbClr val="00C46D"/>
      </a:accent5>
      <a:accent6>
        <a:srgbClr val="8028FF"/>
      </a:accent6>
      <a:hlink>
        <a:srgbClr val="FFFF00"/>
      </a:hlink>
      <a:folHlink>
        <a:srgbClr val="36F5FF"/>
      </a:folHlink>
    </a:clrScheme>
    <a:fontScheme name="Rounded Light + Reg">
      <a:majorFont>
        <a:latin typeface="Globotipo Rounded Light"/>
        <a:ea typeface=""/>
        <a:cs typeface=""/>
      </a:majorFont>
      <a:minorFont>
        <a:latin typeface="Globotipo Round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Office Theme">
  <a:themeElements>
    <a:clrScheme name="Personalizada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800F8"/>
      </a:accent1>
      <a:accent2>
        <a:srgbClr val="05A6FF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 Slide Master">
  <a:themeElements>
    <a:clrScheme name="ALLPPT-COLOR-A0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DD2D9"/>
      </a:accent1>
      <a:accent2>
        <a:srgbClr val="0DD2D9"/>
      </a:accent2>
      <a:accent3>
        <a:srgbClr val="0DD2D9"/>
      </a:accent3>
      <a:accent4>
        <a:srgbClr val="0DD2D9"/>
      </a:accent4>
      <a:accent5>
        <a:srgbClr val="0DD2D9"/>
      </a:accent5>
      <a:accent6>
        <a:srgbClr val="0DD2D9"/>
      </a:accent6>
      <a:hlink>
        <a:srgbClr val="000000"/>
      </a:hlink>
      <a:folHlink>
        <a:srgbClr val="00000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D2D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Contents Slide Master">
  <a:themeElements>
    <a:clrScheme name="Vermelho Violeta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Tema do Office">
  <a:themeElements>
    <a:clrScheme name="Tema do Office">
      <a:dk1>
        <a:srgbClr val="000000"/>
      </a:dk1>
      <a:lt1>
        <a:srgbClr val="D5D5D5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Helvetica"/>
        <a:ea typeface="Helvetica"/>
        <a:cs typeface="Helvetica"/>
      </a:majorFont>
      <a:minorFont>
        <a:latin typeface="Gotham Bold"/>
        <a:ea typeface="Gotham Bold"/>
        <a:cs typeface="Gotham 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otham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otham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5_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Cover and End Slide Master">
  <a:themeElements>
    <a:clrScheme name="ALLPPT-COLOR-A0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DD2D9"/>
      </a:accent1>
      <a:accent2>
        <a:srgbClr val="0DD2D9"/>
      </a:accent2>
      <a:accent3>
        <a:srgbClr val="0DD2D9"/>
      </a:accent3>
      <a:accent4>
        <a:srgbClr val="0DD2D9"/>
      </a:accent4>
      <a:accent5>
        <a:srgbClr val="0DD2D9"/>
      </a:accent5>
      <a:accent6>
        <a:srgbClr val="0DD2D9"/>
      </a:accent6>
      <a:hlink>
        <a:srgbClr val="000000"/>
      </a:hlink>
      <a:folHlink>
        <a:srgbClr val="00000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80cfda-aed5-4b6b-aa88-9a7d2db22974">
      <Terms xmlns="http://schemas.microsoft.com/office/infopath/2007/PartnerControls"/>
    </lcf76f155ced4ddcb4097134ff3c332f>
    <TaxCatchAll xmlns="7107d6cd-f7f1-4483-b63a-7336f6542cd1" xsi:nil="true"/>
    <SharedWithUsers xmlns="7107d6cd-f7f1-4483-b63a-7336f6542cd1">
      <UserInfo>
        <DisplayName>Aline Bonavita</DisplayName>
        <AccountId>176</AccountId>
        <AccountType/>
      </UserInfo>
      <UserInfo>
        <DisplayName>Jorge Dias</DisplayName>
        <AccountId>18</AccountId>
        <AccountType/>
      </UserInfo>
      <UserInfo>
        <DisplayName>Bernardo Costa</DisplayName>
        <AccountId>13</AccountId>
        <AccountType/>
      </UserInfo>
      <UserInfo>
        <DisplayName>Raymundo Barros</DisplayName>
        <AccountId>37</AccountId>
        <AccountType/>
      </UserInfo>
      <UserInfo>
        <DisplayName>Carlos Octavio Queiroz</DisplayName>
        <AccountId>21</AccountId>
        <AccountType/>
      </UserInfo>
      <UserInfo>
        <DisplayName>Ana Eliza</DisplayName>
        <AccountId>26</AccountId>
        <AccountType/>
      </UserInfo>
      <UserInfo>
        <DisplayName>Patricia Manso</DisplayName>
        <AccountId>12</AccountId>
        <AccountType/>
      </UserInfo>
      <UserInfo>
        <DisplayName>Leandro Gejfinbein</DisplayName>
        <AccountId>8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23ECB0CBD35E04DBF2C3B4D66C79C91" ma:contentTypeVersion="14" ma:contentTypeDescription="Crie um novo documento." ma:contentTypeScope="" ma:versionID="5ae2c0f52441d23a5b12884807a740ab">
  <xsd:schema xmlns:xsd="http://www.w3.org/2001/XMLSchema" xmlns:xs="http://www.w3.org/2001/XMLSchema" xmlns:p="http://schemas.microsoft.com/office/2006/metadata/properties" xmlns:ns2="0280cfda-aed5-4b6b-aa88-9a7d2db22974" xmlns:ns3="7107d6cd-f7f1-4483-b63a-7336f6542cd1" targetNamespace="http://schemas.microsoft.com/office/2006/metadata/properties" ma:root="true" ma:fieldsID="3c14b271c224b5e0eb520cc52921ec6e" ns2:_="" ns3:_="">
    <xsd:import namespace="0280cfda-aed5-4b6b-aa88-9a7d2db22974"/>
    <xsd:import namespace="7107d6cd-f7f1-4483-b63a-7336f6542c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0cfda-aed5-4b6b-aa88-9a7d2db229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Marcações de imagem" ma:readOnly="false" ma:fieldId="{5cf76f15-5ced-4ddc-b409-7134ff3c332f}" ma:taxonomyMulti="true" ma:sspId="fce95d02-0283-4058-b157-1f44ea38b54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7d6cd-f7f1-4483-b63a-7336f6542c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1cbc447e-168d-47cd-817a-54ff0b21150e}" ma:internalName="TaxCatchAll" ma:showField="CatchAllData" ma:web="7107d6cd-f7f1-4483-b63a-7336f6542cd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FD46-0835-4C5D-941A-C345B408B6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C20D34-16A1-470E-84DF-B6D31ABFE172}">
  <ds:schemaRefs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7107d6cd-f7f1-4483-b63a-7336f6542cd1"/>
    <ds:schemaRef ds:uri="http://www.w3.org/XML/1998/namespace"/>
    <ds:schemaRef ds:uri="http://schemas.microsoft.com/office/infopath/2007/PartnerControls"/>
    <ds:schemaRef ds:uri="0280cfda-aed5-4b6b-aa88-9a7d2db22974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38E4249-1AAF-4B3F-B390-3054CCB9BD3A}">
  <ds:schemaRefs>
    <ds:schemaRef ds:uri="0280cfda-aed5-4b6b-aa88-9a7d2db22974"/>
    <ds:schemaRef ds:uri="7107d6cd-f7f1-4483-b63a-7336f6542cd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316</Words>
  <Application>Microsoft Office PowerPoint</Application>
  <PresentationFormat>Widescreen</PresentationFormat>
  <Paragraphs>120</Paragraphs>
  <Slides>16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21</vt:i4>
      </vt:variant>
      <vt:variant>
        <vt:lpstr>Tema</vt:lpstr>
      </vt:variant>
      <vt:variant>
        <vt:i4>1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48" baseType="lpstr">
      <vt:lpstr>Aptos</vt:lpstr>
      <vt:lpstr>Aptos Display</vt:lpstr>
      <vt:lpstr>Arial</vt:lpstr>
      <vt:lpstr>Calibri</vt:lpstr>
      <vt:lpstr>Calibri Light</vt:lpstr>
      <vt:lpstr>Century Gothic</vt:lpstr>
      <vt:lpstr>Globotipo Corporativa</vt:lpstr>
      <vt:lpstr>Globotipo Rounded</vt:lpstr>
      <vt:lpstr>Globotipo Rounded Light</vt:lpstr>
      <vt:lpstr>Globotipo Rounded Regular</vt:lpstr>
      <vt:lpstr>Globotipo Texto</vt:lpstr>
      <vt:lpstr>Globotipo Texto Black</vt:lpstr>
      <vt:lpstr>Globotipo Texto Light</vt:lpstr>
      <vt:lpstr>Gotham Black</vt:lpstr>
      <vt:lpstr>Gotham Bold</vt:lpstr>
      <vt:lpstr>Helvetica</vt:lpstr>
      <vt:lpstr>Helvetica Light</vt:lpstr>
      <vt:lpstr>Poppins</vt:lpstr>
      <vt:lpstr>Poppins Black</vt:lpstr>
      <vt:lpstr>Segoe UI</vt:lpstr>
      <vt:lpstr>Wingdings</vt:lpstr>
      <vt:lpstr>29_Office Theme</vt:lpstr>
      <vt:lpstr>Contents Slide Master</vt:lpstr>
      <vt:lpstr>3_Contents Slide Master</vt:lpstr>
      <vt:lpstr>1_Tema do Office</vt:lpstr>
      <vt:lpstr>3_Tema do Office</vt:lpstr>
      <vt:lpstr>4_Tema do Office</vt:lpstr>
      <vt:lpstr>5_Tema do Office</vt:lpstr>
      <vt:lpstr>Cover and End Slide Master</vt:lpstr>
      <vt:lpstr>1_Office Theme</vt:lpstr>
      <vt:lpstr>3_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PROJETOS DE NORMA DA TV3.0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hais Cintra</dc:creator>
  <cp:lastModifiedBy>Ana Eliza</cp:lastModifiedBy>
  <cp:revision>3</cp:revision>
  <dcterms:created xsi:type="dcterms:W3CDTF">2023-11-07T20:50:34Z</dcterms:created>
  <dcterms:modified xsi:type="dcterms:W3CDTF">2024-12-01T16:0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dc542d3-6316-42ad-9eaa-e82fa419e5f2_Enabled">
    <vt:lpwstr>true</vt:lpwstr>
  </property>
  <property fmtid="{D5CDD505-2E9C-101B-9397-08002B2CF9AE}" pid="3" name="MSIP_Label_3dc542d3-6316-42ad-9eaa-e82fa419e5f2_SetDate">
    <vt:lpwstr>2023-11-08T14:59:46Z</vt:lpwstr>
  </property>
  <property fmtid="{D5CDD505-2E9C-101B-9397-08002B2CF9AE}" pid="4" name="MSIP_Label_3dc542d3-6316-42ad-9eaa-e82fa419e5f2_Method">
    <vt:lpwstr>Standard</vt:lpwstr>
  </property>
  <property fmtid="{D5CDD505-2E9C-101B-9397-08002B2CF9AE}" pid="5" name="MSIP_Label_3dc542d3-6316-42ad-9eaa-e82fa419e5f2_Name">
    <vt:lpwstr>3dc542d3-6316-42ad-9eaa-e82fa419e5f2</vt:lpwstr>
  </property>
  <property fmtid="{D5CDD505-2E9C-101B-9397-08002B2CF9AE}" pid="6" name="MSIP_Label_3dc542d3-6316-42ad-9eaa-e82fa419e5f2_SiteId">
    <vt:lpwstr>a7cdc447-3b29-4b41-b73e-8a2cb54b06c6</vt:lpwstr>
  </property>
  <property fmtid="{D5CDD505-2E9C-101B-9397-08002B2CF9AE}" pid="7" name="MSIP_Label_3dc542d3-6316-42ad-9eaa-e82fa419e5f2_ActionId">
    <vt:lpwstr>9a113bee-f424-4d1a-86ba-605eff5ac191</vt:lpwstr>
  </property>
  <property fmtid="{D5CDD505-2E9C-101B-9397-08002B2CF9AE}" pid="8" name="MSIP_Label_3dc542d3-6316-42ad-9eaa-e82fa419e5f2_ContentBits">
    <vt:lpwstr>0</vt:lpwstr>
  </property>
  <property fmtid="{D5CDD505-2E9C-101B-9397-08002B2CF9AE}" pid="9" name="ContentTypeId">
    <vt:lpwstr>0x010100623ECB0CBD35E04DBF2C3B4D66C79C91</vt:lpwstr>
  </property>
  <property fmtid="{D5CDD505-2E9C-101B-9397-08002B2CF9AE}" pid="10" name="MediaServiceImageTags">
    <vt:lpwstr/>
  </property>
</Properties>
</file>